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4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5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7.xml" ContentType="application/vnd.openxmlformats-officedocument.theme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8.xml" ContentType="application/vnd.openxmlformats-officedocument.theme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theme/theme9.xml" ContentType="application/vnd.openxmlformats-officedocument.theme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  <p:sldMasterId id="2147483902" r:id="rId5"/>
    <p:sldMasterId id="2147483884" r:id="rId6"/>
    <p:sldMasterId id="2147483915" r:id="rId7"/>
    <p:sldMasterId id="2147483939" r:id="rId8"/>
    <p:sldMasterId id="2147483959" r:id="rId9"/>
    <p:sldMasterId id="2147483989" r:id="rId10"/>
    <p:sldMasterId id="2147484034" r:id="rId11"/>
    <p:sldMasterId id="2147484053" r:id="rId12"/>
    <p:sldMasterId id="2147484095" r:id="rId13"/>
  </p:sldMasterIdLst>
  <p:notesMasterIdLst>
    <p:notesMasterId r:id="rId25"/>
  </p:notesMasterIdLst>
  <p:handoutMasterIdLst>
    <p:handoutMasterId r:id="rId26"/>
  </p:handoutMasterIdLst>
  <p:sldIdLst>
    <p:sldId id="1024" r:id="rId14"/>
    <p:sldId id="691" r:id="rId15"/>
    <p:sldId id="689" r:id="rId16"/>
    <p:sldId id="692" r:id="rId17"/>
    <p:sldId id="693" r:id="rId18"/>
    <p:sldId id="1057" r:id="rId19"/>
    <p:sldId id="696" r:id="rId20"/>
    <p:sldId id="1055" r:id="rId21"/>
    <p:sldId id="697" r:id="rId22"/>
    <p:sldId id="698" r:id="rId23"/>
    <p:sldId id="1053" r:id="rId24"/>
  </p:sldIdLst>
  <p:sldSz cx="9144000" cy="5143500" type="screen16x9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mbria" charset="0"/>
        <a:ea typeface="MS PGothic" charset="0"/>
        <a:cs typeface="MS PGothic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mbria" charset="0"/>
        <a:ea typeface="MS PGothic" charset="0"/>
        <a:cs typeface="MS PGothic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mbria" charset="0"/>
        <a:ea typeface="MS PGothic" charset="0"/>
        <a:cs typeface="MS PGothic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mbria" charset="0"/>
        <a:ea typeface="MS PGothic" charset="0"/>
        <a:cs typeface="MS PGothic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mbria" charset="0"/>
        <a:ea typeface="MS PGothic" charset="0"/>
        <a:cs typeface="MS PGothic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Cambria" charset="0"/>
        <a:ea typeface="MS PGothic" charset="0"/>
        <a:cs typeface="MS PGothic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Cambria" charset="0"/>
        <a:ea typeface="MS PGothic" charset="0"/>
        <a:cs typeface="MS PGothic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Cambria" charset="0"/>
        <a:ea typeface="MS PGothic" charset="0"/>
        <a:cs typeface="MS PGothic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Cambria" charset="0"/>
        <a:ea typeface="MS PGothic" charset="0"/>
        <a:cs typeface="MS PGothic" charset="0"/>
      </a:defRPr>
    </a:lvl9pPr>
  </p:defaultTextStyle>
  <p:extLst>
    <p:ext uri="{521415D9-36F7-43E2-AB2F-B90AF26B5E84}">
      <p14:sectionLst xmlns:p14="http://schemas.microsoft.com/office/powerpoint/2010/main">
        <p14:section name="Start Up Section" id="{439B6121-E993-4F30-AFE3-5652F71047A5}">
          <p14:sldIdLst>
            <p14:sldId id="1024"/>
            <p14:sldId id="691"/>
            <p14:sldId id="689"/>
            <p14:sldId id="692"/>
            <p14:sldId id="693"/>
            <p14:sldId id="1057"/>
            <p14:sldId id="696"/>
            <p14:sldId id="1055"/>
            <p14:sldId id="697"/>
            <p14:sldId id="698"/>
            <p14:sldId id="105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enz, Meghan" initials="MM" lastIdx="8" clrIdx="0"/>
  <p:cmAuthor id="1" name="Headen, Alvis" initials="HA" lastIdx="1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3E5E"/>
    <a:srgbClr val="663300"/>
    <a:srgbClr val="00FF00"/>
    <a:srgbClr val="99FF66"/>
    <a:srgbClr val="CC6600"/>
    <a:srgbClr val="FF9933"/>
    <a:srgbClr val="FFCC00"/>
    <a:srgbClr val="FFFFFF"/>
    <a:srgbClr val="996633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>
      <p:cViewPr varScale="1">
        <p:scale>
          <a:sx n="90" d="100"/>
          <a:sy n="90" d="100"/>
        </p:scale>
        <p:origin x="284" y="4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BA15A6-143E-7E46-A2E0-F1EA80779C05}" type="datetimeFigureOut">
              <a:rPr lang="en-US" smtClean="0"/>
              <a:t>4/10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B5BF81-C423-9B4D-87EC-75B8A686D55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E2FFAB-EA99-AA4E-81DF-1DA45F3631CF}" type="datetimeFigureOut">
              <a:rPr lang="en-US" smtClean="0"/>
              <a:t>4/10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374E13-991E-2B4C-A86B-02455F531AC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mbria" panose="02040503050406030204" pitchFamily="18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mbria" panose="02040503050406030204" pitchFamily="18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mbria" panose="02040503050406030204" pitchFamily="18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mbria" panose="02040503050406030204" pitchFamily="18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mbria" panose="020405030504060302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9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0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0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stryker_title_slide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096001" y="2242566"/>
            <a:ext cx="2501733" cy="130073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r">
              <a:lnSpc>
                <a:spcPct val="110000"/>
              </a:lnSpc>
              <a:spcAft>
                <a:spcPts val="0"/>
              </a:spcAft>
              <a:buNone/>
              <a:defRPr sz="2100" b="0"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3" y="2133910"/>
            <a:ext cx="4837112" cy="65754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0"/>
            <a:ext cx="914400" cy="231580"/>
          </a:xfrm>
          <a:prstGeom prst="rect">
            <a:avLst/>
          </a:prstGeom>
        </p:spPr>
      </p:pic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7454734" y="4607846"/>
            <a:ext cx="1143000" cy="153888"/>
          </a:xfrm>
        </p:spPr>
        <p:txBody>
          <a:bodyPr/>
          <a:lstStyle>
            <a:lvl1pPr algn="r">
              <a:defRPr sz="1000"/>
            </a:lvl1pPr>
          </a:lstStyle>
          <a:p>
            <a:r>
              <a:rPr lang="en-US" dirty="0"/>
              <a:t>October 10, 2017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2" y="570974"/>
            <a:ext cx="4837113" cy="1562936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defRPr sz="4400">
                <a:latin typeface="Rockwell" charset="0"/>
                <a:ea typeface="Rockwell" charset="0"/>
                <a:cs typeface="Rockwel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4283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paragraph with bulleted list and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October 10, 2017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47348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6606704F-A133-514C-A0AC-C30D6760686A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1163" y="1363598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919191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asic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15E54F9E-17A2-2246-A3DC-34A29212453F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1163" y="2199797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648200" y="2199797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895712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asic Paragraph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AE60892F-A8DE-FA4D-9B13-55BBF13A5476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1163" y="2199797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648200" y="2199797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096424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620DE03E-84BF-4643-9EE0-0152C4360AC4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2193741"/>
            <a:ext cx="4084637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3741"/>
            <a:ext cx="4084320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823220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ulleted List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0E18AEB0-EBA8-1046-97FF-AE0A93460DE8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2193741"/>
            <a:ext cx="4084637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3741"/>
            <a:ext cx="4084320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239987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08C69616-5FFC-7247-AF11-0E0FC66298D7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2191999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1999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702829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Numbered List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BBA20E0B-48A2-8B41-AF69-00DE0AFE4491}" type="datetime4">
              <a:rPr lang="en-US" smtClean="0"/>
              <a:t>April 10, 2019</a:t>
            </a:fld>
            <a:endParaRPr lang="en-US" dirty="0"/>
          </a:p>
        </p:txBody>
      </p:sp>
      <p:pic>
        <p:nvPicPr>
          <p:cNvPr id="23" name="Picture 22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2191999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1999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926056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BA60D0B7-204D-244B-AED5-249073C87C2A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20312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A0D2BBF5-0089-384C-81BC-8AEA075245EC}" type="datetime4">
              <a:rPr lang="en-US" smtClean="0"/>
              <a:t>April 10, 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472386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stryker_title_slide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096001" y="2242566"/>
            <a:ext cx="2501733" cy="130073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r">
              <a:lnSpc>
                <a:spcPct val="110000"/>
              </a:lnSpc>
              <a:spcAft>
                <a:spcPts val="0"/>
              </a:spcAft>
              <a:buNone/>
              <a:defRPr sz="2100" b="0"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3" y="2133910"/>
            <a:ext cx="4837112" cy="65754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0"/>
            <a:ext cx="914400" cy="231580"/>
          </a:xfrm>
          <a:prstGeom prst="rect">
            <a:avLst/>
          </a:prstGeom>
        </p:spPr>
      </p:pic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7454734" y="4607846"/>
            <a:ext cx="1143000" cy="153888"/>
          </a:xfrm>
        </p:spPr>
        <p:txBody>
          <a:bodyPr/>
          <a:lstStyle>
            <a:lvl1pPr algn="r">
              <a:defRPr sz="1000"/>
            </a:lvl1pPr>
          </a:lstStyle>
          <a:p>
            <a:r>
              <a:rPr lang="en-US" dirty="0"/>
              <a:t>April 12, 2017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2" y="570974"/>
            <a:ext cx="4837113" cy="1562936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defRPr sz="4400">
                <a:latin typeface="Rockwell" charset="0"/>
                <a:ea typeface="Rockwell" charset="0"/>
                <a:cs typeface="Rockwel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1557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October 10, 2017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8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150017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08610"/>
            <a:ext cx="6858000" cy="6858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 Black"/>
                <a:cs typeface="Arial Black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61835" y="4789481"/>
            <a:ext cx="228598" cy="123159"/>
          </a:xfrm>
          <a:prstGeom prst="rect">
            <a:avLst/>
          </a:prstGeom>
        </p:spPr>
        <p:txBody>
          <a:bodyPr anchor="ctr"/>
          <a:lstStyle>
            <a:lvl1pPr>
              <a:defRPr/>
            </a:lvl1pPr>
          </a:lstStyle>
          <a:p>
            <a:fld id="{FF74FD0C-C212-3E42-822A-D9927A3F32BB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14450"/>
            <a:ext cx="8351520" cy="3086100"/>
          </a:xfrm>
          <a:prstGeom prst="rect">
            <a:avLst/>
          </a:prstGeom>
        </p:spPr>
        <p:txBody>
          <a:bodyPr vert="horz"/>
          <a:lstStyle>
            <a:lvl1pPr marL="256025" indent="-256025" algn="l">
              <a:lnSpc>
                <a:spcPct val="120000"/>
              </a:lnSpc>
              <a:spcAft>
                <a:spcPts val="600"/>
              </a:spcAft>
              <a:buFont typeface="Arial"/>
              <a:buChar char="•"/>
              <a:defRPr sz="1800" b="0">
                <a:latin typeface="Cambria"/>
                <a:cs typeface="Cambria"/>
              </a:defRPr>
            </a:lvl1pPr>
            <a:lvl2pPr marL="457189" indent="-228594" algn="l">
              <a:lnSpc>
                <a:spcPct val="120000"/>
              </a:lnSpc>
              <a:spcAft>
                <a:spcPts val="600"/>
              </a:spcAft>
              <a:buFont typeface="Courier New"/>
              <a:buChar char="o"/>
              <a:defRPr sz="1800">
                <a:latin typeface="Cambria"/>
                <a:cs typeface="Cambria"/>
              </a:defRPr>
            </a:lvl2pPr>
            <a:lvl3pPr marL="685783" indent="-228594" algn="l">
              <a:lnSpc>
                <a:spcPct val="120000"/>
              </a:lnSpc>
              <a:spcAft>
                <a:spcPts val="600"/>
              </a:spcAft>
              <a:buFont typeface="Lucida Grande"/>
              <a:buChar char="-"/>
              <a:defRPr sz="1600">
                <a:latin typeface="Cambria"/>
                <a:cs typeface="Cambria"/>
              </a:defRPr>
            </a:lvl3pPr>
            <a:lvl4pPr algn="l">
              <a:lnSpc>
                <a:spcPct val="120000"/>
              </a:lnSpc>
              <a:spcAft>
                <a:spcPts val="600"/>
              </a:spcAft>
              <a:defRPr sz="1600">
                <a:latin typeface="Cambria"/>
                <a:cs typeface="Cambria"/>
              </a:defRPr>
            </a:lvl4pPr>
            <a:lvl5pPr marL="1142972" indent="-228594" algn="l">
              <a:lnSpc>
                <a:spcPct val="120000"/>
              </a:lnSpc>
              <a:spcAft>
                <a:spcPts val="600"/>
              </a:spcAft>
              <a:buFont typeface="Courier New"/>
              <a:buChar char="o"/>
              <a:defRPr sz="1400">
                <a:latin typeface="Cambria"/>
                <a:cs typeface="Cambri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053644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08610"/>
            <a:ext cx="6858000" cy="6858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Futura Std Bold"/>
                <a:cs typeface="Futura Std 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11163" y="4781665"/>
            <a:ext cx="1143000" cy="138499"/>
          </a:xfrm>
        </p:spPr>
        <p:txBody>
          <a:bodyPr anchor="ctr"/>
          <a:lstStyle>
            <a:lvl1pPr>
              <a:defRPr/>
            </a:lvl1pPr>
          </a:lstStyle>
          <a:p>
            <a:fld id="{426F2487-6CA8-7B4E-B679-ED33E18BDD38}" type="datetime4">
              <a:rPr lang="en-US" smtClean="0">
                <a:solidFill>
                  <a:prstClr val="black"/>
                </a:solidFill>
              </a:rPr>
              <a:pPr/>
              <a:t>April 10, 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61834" y="4781810"/>
            <a:ext cx="228598" cy="138499"/>
          </a:xfrm>
        </p:spPr>
        <p:txBody>
          <a:bodyPr anchor="ctr"/>
          <a:lstStyle>
            <a:lvl1pPr>
              <a:defRPr/>
            </a:lvl1pPr>
          </a:lstStyle>
          <a:p>
            <a:fld id="{FF74FD0C-C212-3E42-822A-D9927A3F32BB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155107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1" name="think-cell Slide" r:id="rId4" imgW="136" imgH="136" progId="TCLayout.ActiveDocument.1">
                  <p:embed/>
                </p:oleObj>
              </mc:Choice>
              <mc:Fallback>
                <p:oleObj name="think-cell Slide" r:id="rId4" imgW="136" imgH="1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6" descr="STRYKER_sm"/>
          <p:cNvPicPr>
            <a:picLocks noChangeAspect="1" noChangeArrowheads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-100000" contrast="-100000"/>
          </a:blip>
          <a:srcRect/>
          <a:stretch>
            <a:fillRect/>
          </a:stretch>
        </p:blipFill>
        <p:spPr bwMode="auto">
          <a:xfrm>
            <a:off x="7879900" y="114480"/>
            <a:ext cx="1012580" cy="1964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909817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Basic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08610"/>
            <a:ext cx="6858000" cy="6858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Futura Std Bold"/>
                <a:cs typeface="Futura Std 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1480" y="1314450"/>
            <a:ext cx="8351520" cy="31432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10000"/>
              </a:lnSpc>
              <a:spcAft>
                <a:spcPts val="900"/>
              </a:spcAft>
              <a:buFont typeface="+mj-lt"/>
              <a:buNone/>
              <a:defRPr sz="1350" baseline="0">
                <a:solidFill>
                  <a:schemeClr val="tx1"/>
                </a:solidFill>
                <a:latin typeface="HumstSlab712 BT Roman"/>
                <a:cs typeface="HumstSlab712 BT Roman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11163" y="4781664"/>
            <a:ext cx="1143000" cy="138499"/>
          </a:xfrm>
        </p:spPr>
        <p:txBody>
          <a:bodyPr anchor="ctr"/>
          <a:lstStyle>
            <a:lvl1pPr>
              <a:defRPr/>
            </a:lvl1pPr>
          </a:lstStyle>
          <a:p>
            <a:fld id="{426F2487-6CA8-7B4E-B679-ED33E18BDD38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51675" y="4708019"/>
            <a:ext cx="422651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  <a:latin typeface="HumstSlab712 BT Roman"/>
              </a:defRPr>
            </a:lvl1pPr>
          </a:lstStyle>
          <a:p>
            <a:fld id="{9B101DA2-F36F-429F-8C42-37D2ED8A427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905390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480" y="384573"/>
            <a:ext cx="8640235" cy="621506"/>
          </a:xfrm>
          <a:prstGeom prst="rect">
            <a:avLst/>
          </a:prstGeom>
        </p:spPr>
        <p:txBody>
          <a:bodyPr/>
          <a:lstStyle>
            <a:lvl1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3413" y="1510904"/>
            <a:ext cx="8039100" cy="3219450"/>
          </a:xfrm>
          <a:prstGeom prst="rect">
            <a:avLst/>
          </a:prstGeom>
        </p:spPr>
        <p:txBody>
          <a:bodyPr/>
          <a:lstStyle>
            <a:lvl1pPr>
              <a:defRPr b="0">
                <a:effectLst/>
              </a:defRPr>
            </a:lvl1pPr>
            <a:lvl2pPr>
              <a:defRPr b="0">
                <a:effectLst/>
              </a:defRPr>
            </a:lvl2pPr>
            <a:lvl3pPr>
              <a:defRPr b="0">
                <a:effectLst/>
              </a:defRPr>
            </a:lvl3pPr>
            <a:lvl4pPr>
              <a:defRPr sz="1050" b="0">
                <a:effectLst/>
              </a:defRPr>
            </a:lvl4pPr>
            <a:lvl5pPr>
              <a:defRPr sz="900" b="0">
                <a:effectLst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78314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HumstSlab712 BT Roman"/>
                <a:cs typeface="HumstSlab712 BT Roman"/>
              </a:defRPr>
            </a:lvl1pPr>
          </a:lstStyle>
          <a:p>
            <a:fld id="{5024C15C-E6AA-3648-B02F-4223F2C9CB8B}" type="datetime4">
              <a:rPr lang="en-US" smtClean="0">
                <a:solidFill>
                  <a:prstClr val="black"/>
                </a:solidFill>
              </a:rPr>
              <a:pPr/>
              <a:t>April 10, 20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341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Title or Content Highligh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815"/>
          <a:stretch/>
        </p:blipFill>
        <p:spPr>
          <a:xfrm>
            <a:off x="0" y="0"/>
            <a:ext cx="9144000" cy="458724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92080" y="2552700"/>
            <a:ext cx="3139200" cy="1546860"/>
          </a:xfrm>
          <a:prstGeom prst="rect">
            <a:avLst/>
          </a:prstGeom>
        </p:spPr>
        <p:txBody>
          <a:bodyPr tIns="182880" anchor="b" anchorCtr="0"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8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792080" y="4236720"/>
            <a:ext cx="3139200" cy="35052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ts val="19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772161" y="2552700"/>
            <a:ext cx="4771390" cy="1546622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r">
              <a:buFontTx/>
              <a:buNone/>
              <a:defRPr sz="4000">
                <a:solidFill>
                  <a:schemeClr val="bg2"/>
                </a:solidFill>
                <a:latin typeface="Rockwell" panose="02060603020205020403" pitchFamily="18" charset="0"/>
                <a:ea typeface="Rockwell" panose="02060603020205020403" pitchFamily="18" charset="0"/>
                <a:cs typeface="Rockwell" panose="02060603020205020403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AC499524-A10B-9845-B316-65CC9E4D83E2}" type="datetime4">
              <a:rPr lang="en-US" smtClean="0"/>
              <a:t>April 10, 2019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1"/>
            <a:ext cx="914400" cy="231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4307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stryker_title_slide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1" y="2242566"/>
            <a:ext cx="2501733" cy="130073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r">
              <a:lnSpc>
                <a:spcPct val="110000"/>
              </a:lnSpc>
              <a:spcAft>
                <a:spcPts val="0"/>
              </a:spcAft>
              <a:buNone/>
              <a:defRPr sz="2100" b="0"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722314" y="570976"/>
            <a:ext cx="4837112" cy="1552808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tx1"/>
                </a:solidFill>
                <a:latin typeface="Rockwell" panose="02060603020205020403" pitchFamily="18" charset="0"/>
                <a:ea typeface="Rockwell" panose="02060603020205020403" pitchFamily="18" charset="0"/>
                <a:cs typeface="Rockwell" panose="02060603020205020403" pitchFamily="18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4" y="2133911"/>
            <a:ext cx="4837112" cy="65754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1"/>
            <a:ext cx="914400" cy="231580"/>
          </a:xfrm>
          <a:prstGeom prst="rect">
            <a:avLst/>
          </a:prstGeom>
        </p:spPr>
      </p:pic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7454734" y="4607846"/>
            <a:ext cx="1143000" cy="153888"/>
          </a:xfrm>
        </p:spPr>
        <p:txBody>
          <a:bodyPr/>
          <a:lstStyle>
            <a:lvl1pPr algn="r">
              <a:defRPr sz="1000"/>
            </a:lvl1pPr>
          </a:lstStyle>
          <a:p>
            <a:r>
              <a:rPr lang="en-US" dirty="0"/>
              <a:t>June 2018</a:t>
            </a:r>
          </a:p>
        </p:txBody>
      </p:sp>
    </p:spTree>
    <p:extLst>
      <p:ext uri="{BB962C8B-B14F-4D97-AF65-F5344CB8AC3E}">
        <p14:creationId xmlns:p14="http://schemas.microsoft.com/office/powerpoint/2010/main" val="427740348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stryker_title_slide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22376" y="3086100"/>
            <a:ext cx="4840224" cy="130073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2100" b="0"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tex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1"/>
            <a:ext cx="914400" cy="231580"/>
          </a:xfrm>
          <a:prstGeom prst="rect">
            <a:avLst/>
          </a:prstGeom>
        </p:spPr>
      </p:pic>
      <p:sp>
        <p:nvSpPr>
          <p:cNvPr id="9" name="Date Placeholder 9"/>
          <p:cNvSpPr>
            <a:spLocks noGrp="1"/>
          </p:cNvSpPr>
          <p:nvPr>
            <p:ph type="dt" sz="half" idx="2"/>
          </p:nvPr>
        </p:nvSpPr>
        <p:spPr>
          <a:xfrm>
            <a:off x="7454734" y="4607846"/>
            <a:ext cx="1143000" cy="153888"/>
          </a:xfrm>
        </p:spPr>
        <p:txBody>
          <a:bodyPr/>
          <a:lstStyle>
            <a:lvl1pPr algn="r">
              <a:defRPr sz="1000"/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722314" y="570976"/>
            <a:ext cx="4837112" cy="1552808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tx1"/>
                </a:solidFill>
                <a:latin typeface="Rockwell" panose="02060603020205020403" pitchFamily="18" charset="0"/>
                <a:ea typeface="Rockwell" panose="02060603020205020403" pitchFamily="18" charset="0"/>
                <a:cs typeface="Rockwell" panose="02060603020205020403" pitchFamily="18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4" y="2133911"/>
            <a:ext cx="4837112" cy="65754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63514659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or Content Highligh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1480" y="631597"/>
            <a:ext cx="6172200" cy="158555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5400">
                <a:solidFill>
                  <a:schemeClr val="bg2"/>
                </a:solidFill>
                <a:latin typeface="Rockwell" panose="02060603020205020403" pitchFamily="18" charset="0"/>
                <a:cs typeface="Rockwell" panose="02060603020205020403" pitchFamily="18" charset="0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11163" y="2434591"/>
            <a:ext cx="6172200" cy="141192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100">
                <a:solidFill>
                  <a:schemeClr val="tx1"/>
                </a:solidFill>
                <a:latin typeface="+mj-lt"/>
                <a:ea typeface="Futura For Stryker" charset="0"/>
                <a:cs typeface="Futura For Stryker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84160902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stryker_title_slide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1" y="2242566"/>
            <a:ext cx="2501733" cy="130073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r">
              <a:lnSpc>
                <a:spcPct val="110000"/>
              </a:lnSpc>
              <a:spcAft>
                <a:spcPts val="0"/>
              </a:spcAft>
              <a:buNone/>
              <a:defRPr sz="2100" b="0"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722313" y="570975"/>
            <a:ext cx="4837112" cy="1552808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tx1"/>
                </a:solidFill>
                <a:latin typeface="Rockwell" panose="02060603020205020403" pitchFamily="18" charset="0"/>
                <a:ea typeface="Rockwell" panose="02060603020205020403" pitchFamily="18" charset="0"/>
                <a:cs typeface="Rockwell" panose="02060603020205020403" pitchFamily="18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3" y="2133910"/>
            <a:ext cx="4837112" cy="65754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0"/>
            <a:ext cx="914400" cy="231580"/>
          </a:xfrm>
          <a:prstGeom prst="rect">
            <a:avLst/>
          </a:prstGeom>
        </p:spPr>
      </p:pic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7454734" y="4607846"/>
            <a:ext cx="1143000" cy="153888"/>
          </a:xfrm>
        </p:spPr>
        <p:txBody>
          <a:bodyPr/>
          <a:lstStyle>
            <a:lvl1pPr algn="r">
              <a:defRPr sz="1000"/>
            </a:lvl1pPr>
          </a:lstStyle>
          <a:p>
            <a:r>
              <a:rPr lang="en-US" dirty="0"/>
              <a:t>June 2018</a:t>
            </a:r>
          </a:p>
        </p:txBody>
      </p:sp>
    </p:spTree>
    <p:extLst>
      <p:ext uri="{BB962C8B-B14F-4D97-AF65-F5344CB8AC3E}">
        <p14:creationId xmlns:p14="http://schemas.microsoft.com/office/powerpoint/2010/main" val="12084140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 with header and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October 10, 2017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8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91473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stryker_title_slide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22376" y="3086100"/>
            <a:ext cx="4840224" cy="130073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2100" b="0"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tex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0"/>
            <a:ext cx="914400" cy="231580"/>
          </a:xfrm>
          <a:prstGeom prst="rect">
            <a:avLst/>
          </a:prstGeom>
        </p:spPr>
      </p:pic>
      <p:sp>
        <p:nvSpPr>
          <p:cNvPr id="9" name="Date Placeholder 9"/>
          <p:cNvSpPr>
            <a:spLocks noGrp="1"/>
          </p:cNvSpPr>
          <p:nvPr>
            <p:ph type="dt" sz="half" idx="2"/>
          </p:nvPr>
        </p:nvSpPr>
        <p:spPr>
          <a:xfrm>
            <a:off x="7454734" y="4607846"/>
            <a:ext cx="1143000" cy="153888"/>
          </a:xfrm>
        </p:spPr>
        <p:txBody>
          <a:bodyPr/>
          <a:lstStyle>
            <a:lvl1pPr algn="r">
              <a:defRPr sz="1000"/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722313" y="570975"/>
            <a:ext cx="4837112" cy="1552808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tx1"/>
                </a:solidFill>
                <a:latin typeface="Rockwell" panose="02060603020205020403" pitchFamily="18" charset="0"/>
                <a:ea typeface="Rockwell" panose="02060603020205020403" pitchFamily="18" charset="0"/>
                <a:cs typeface="Rockwell" panose="02060603020205020403" pitchFamily="18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3" y="2133910"/>
            <a:ext cx="4837112" cy="65754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71164447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or Content Highligh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1480" y="631596"/>
            <a:ext cx="6172200" cy="158555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5400">
                <a:solidFill>
                  <a:schemeClr val="bg2"/>
                </a:solidFill>
                <a:latin typeface="Rockwell" panose="02060603020205020403" pitchFamily="18" charset="0"/>
                <a:cs typeface="Rockwell" panose="02060603020205020403" pitchFamily="18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11163" y="2434590"/>
            <a:ext cx="6172200" cy="141192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100">
                <a:solidFill>
                  <a:schemeClr val="tx1"/>
                </a:solidFill>
                <a:latin typeface="+mj-lt"/>
                <a:ea typeface="Futura For Stryker" charset="0"/>
                <a:cs typeface="Futura For Stryker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13455829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or Content Highligh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557188" y="2605306"/>
            <a:ext cx="3139200" cy="1546860"/>
          </a:xfrm>
          <a:prstGeom prst="rect">
            <a:avLst/>
          </a:prstGeom>
        </p:spPr>
        <p:txBody>
          <a:bodyPr tIns="182880" anchor="b" anchorCtr="0"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8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557188" y="4289326"/>
            <a:ext cx="3139200" cy="35052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ts val="19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537270" y="2605306"/>
            <a:ext cx="4771390" cy="1546622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r">
              <a:buFontTx/>
              <a:buNone/>
              <a:defRPr sz="4000">
                <a:solidFill>
                  <a:schemeClr val="bg2"/>
                </a:solidFill>
                <a:latin typeface="Rockwell" panose="02060603020205020403" pitchFamily="18" charset="0"/>
                <a:ea typeface="Rockwell" panose="02060603020205020403" pitchFamily="18" charset="0"/>
                <a:cs typeface="Rockwell" panose="02060603020205020403" pitchFamily="18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1"/>
            <a:ext cx="914400" cy="231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09545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or Content Highlight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890357" y="1913319"/>
            <a:ext cx="3819280" cy="2286000"/>
          </a:xfrm>
          <a:prstGeom prst="rect">
            <a:avLst/>
          </a:prstGeom>
        </p:spPr>
        <p:txBody>
          <a:bodyPr tIns="182880" anchor="b" anchorCtr="0"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890357" y="4435540"/>
            <a:ext cx="3819280" cy="2892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ts val="19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831001" y="1912843"/>
            <a:ext cx="2725737" cy="2286000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r">
              <a:buFontTx/>
              <a:buNone/>
              <a:defRPr sz="4000">
                <a:solidFill>
                  <a:schemeClr val="bg1"/>
                </a:solidFill>
                <a:latin typeface="Rockwell" panose="02060603020205020403" pitchFamily="18" charset="0"/>
                <a:ea typeface="Rockwell" panose="02060603020205020403" pitchFamily="18" charset="0"/>
                <a:cs typeface="Rockwell" panose="02060603020205020403" pitchFamily="18" charset="0"/>
              </a:defRPr>
            </a:lvl1pPr>
            <a:lvl2pPr marL="228594" indent="0" algn="r">
              <a:buFontTx/>
              <a:buNone/>
              <a:defRPr/>
            </a:lvl2pPr>
            <a:lvl3pPr marL="457189" indent="0" algn="r">
              <a:buFontTx/>
              <a:buNone/>
              <a:defRPr/>
            </a:lvl3pPr>
            <a:lvl4pPr marL="685783" indent="0" algn="r">
              <a:buFontTx/>
              <a:buNone/>
              <a:defRPr/>
            </a:lvl4pPr>
            <a:lvl5pPr marL="914378" indent="0" algn="r">
              <a:buFontTx/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1"/>
            <a:ext cx="914400" cy="231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90945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with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228594" algn="l">
              <a:lnSpc>
                <a:spcPct val="120000"/>
              </a:lnSpc>
              <a:spcAft>
                <a:spcPts val="600"/>
              </a:spcAft>
              <a:defRPr/>
            </a:lvl2pPr>
            <a:lvl3pPr marL="457189" indent="-228594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83" indent="-228594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78" indent="-228594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72" indent="-228594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66" indent="-228594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6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54" indent="-228594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77036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with bulleted list and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228594" algn="l">
              <a:lnSpc>
                <a:spcPct val="120000"/>
              </a:lnSpc>
              <a:spcAft>
                <a:spcPts val="600"/>
              </a:spcAft>
              <a:defRPr/>
            </a:lvl2pPr>
            <a:lvl3pPr marL="457189" indent="-228594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83" indent="-228594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78" indent="-228594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72" indent="-228594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66" indent="-228594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6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54" indent="-228594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03807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paragraph with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594" algn="l">
              <a:lnSpc>
                <a:spcPct val="120000"/>
              </a:lnSpc>
              <a:spcAft>
                <a:spcPts val="600"/>
              </a:spcAft>
              <a:defRPr/>
            </a:lvl2pPr>
            <a:lvl3pPr marL="457189" indent="-228594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83" indent="-228594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78" indent="-228594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72" indent="-228594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66" indent="-228594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6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54" indent="-228594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38444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paragraph with bulleted list and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594" algn="l">
              <a:lnSpc>
                <a:spcPct val="120000"/>
              </a:lnSpc>
              <a:spcAft>
                <a:spcPts val="600"/>
              </a:spcAft>
              <a:defRPr/>
            </a:lvl2pPr>
            <a:lvl3pPr marL="457189" indent="-228594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83" indent="-228594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78" indent="-228594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72" indent="-228594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66" indent="-228594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6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54" indent="-228594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829309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1363599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342892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486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080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675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269" indent="-342892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863" indent="-342892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457" indent="-342892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051" indent="-342892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25626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 with header and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1363599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342892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486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080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675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269" indent="-342892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863" indent="-342892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457" indent="-342892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051" indent="-342892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11301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October 10, 2017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8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112996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1363599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892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486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080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675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269" indent="-342892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863" indent="-342892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457" indent="-342892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051" indent="-342892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73626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1363599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892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486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080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675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269" indent="-342892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863" indent="-342892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457" indent="-342892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051" indent="-342892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54298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asic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2199798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594" algn="l">
              <a:lnSpc>
                <a:spcPct val="120000"/>
              </a:lnSpc>
              <a:spcAft>
                <a:spcPts val="600"/>
              </a:spcAft>
              <a:defRPr/>
            </a:lvl2pPr>
            <a:lvl3pPr marL="457189" indent="-228594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83" indent="-228594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78" indent="-228594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72" indent="-228594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66" indent="-228594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6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54" indent="-228594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1" y="2199798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594" algn="l">
              <a:lnSpc>
                <a:spcPct val="120000"/>
              </a:lnSpc>
              <a:spcAft>
                <a:spcPts val="600"/>
              </a:spcAft>
              <a:defRPr/>
            </a:lvl2pPr>
            <a:lvl3pPr marL="457189" indent="-228594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83" indent="-228594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78" indent="-228594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72" indent="-228594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66" indent="-228594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6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54" indent="-228594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4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594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33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383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34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4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45" indent="-365751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378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28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879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62331103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asic Paragraph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2199798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594" algn="l">
              <a:lnSpc>
                <a:spcPct val="120000"/>
              </a:lnSpc>
              <a:spcAft>
                <a:spcPts val="600"/>
              </a:spcAft>
              <a:defRPr/>
            </a:lvl2pPr>
            <a:lvl3pPr marL="457189" indent="-228594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83" indent="-228594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78" indent="-228594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72" indent="-228594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66" indent="-228594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6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54" indent="-228594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1" y="2199798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594" algn="l">
              <a:lnSpc>
                <a:spcPct val="120000"/>
              </a:lnSpc>
              <a:spcAft>
                <a:spcPts val="600"/>
              </a:spcAft>
              <a:defRPr/>
            </a:lvl2pPr>
            <a:lvl3pPr marL="457189" indent="-228594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83" indent="-228594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78" indent="-228594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72" indent="-228594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66" indent="-228594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6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54" indent="-228594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4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594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33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383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34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4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45" indent="-365751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378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28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879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02564349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2193742"/>
            <a:ext cx="4084637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594" algn="l">
              <a:lnSpc>
                <a:spcPct val="120000"/>
              </a:lnSpc>
              <a:spcAft>
                <a:spcPts val="600"/>
              </a:spcAft>
              <a:defRPr/>
            </a:lvl2pPr>
            <a:lvl3pPr marL="457189" indent="-228594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83" indent="-228594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78" indent="-228594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72" indent="-228594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66" indent="-228594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6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54" indent="-228594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3742"/>
            <a:ext cx="4084320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594" algn="l">
              <a:lnSpc>
                <a:spcPct val="120000"/>
              </a:lnSpc>
              <a:spcAft>
                <a:spcPts val="600"/>
              </a:spcAft>
              <a:defRPr/>
            </a:lvl2pPr>
            <a:lvl3pPr marL="457189" indent="-228594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83" indent="-228594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78" indent="-228594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72" indent="-228594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66" indent="-228594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6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54" indent="-228594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4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594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33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383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34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4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45" indent="-365751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378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28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879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89516464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ulleted List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2193742"/>
            <a:ext cx="4084637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594" algn="l">
              <a:lnSpc>
                <a:spcPct val="120000"/>
              </a:lnSpc>
              <a:spcAft>
                <a:spcPts val="600"/>
              </a:spcAft>
              <a:defRPr/>
            </a:lvl2pPr>
            <a:lvl3pPr marL="457189" indent="-228594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83" indent="-228594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78" indent="-228594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72" indent="-228594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66" indent="-228594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6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54" indent="-228594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3742"/>
            <a:ext cx="4084320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594" algn="l">
              <a:lnSpc>
                <a:spcPct val="120000"/>
              </a:lnSpc>
              <a:spcAft>
                <a:spcPts val="600"/>
              </a:spcAft>
              <a:defRPr/>
            </a:lvl2pPr>
            <a:lvl3pPr marL="457189" indent="-228594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83" indent="-228594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78" indent="-228594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72" indent="-228594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66" indent="-228594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6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54" indent="-228594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4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594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33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383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34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4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45" indent="-365751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378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28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879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86648123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2192000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892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486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080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675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269" indent="-342892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863" indent="-342892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457" indent="-342892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051" indent="-342892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1" y="2192000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892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486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080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675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269" indent="-342892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863" indent="-342892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457" indent="-342892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051" indent="-342892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4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594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33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383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34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4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45" indent="-365751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378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28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879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84326319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Numbered List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pic>
        <p:nvPicPr>
          <p:cNvPr id="23" name="Picture 22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2192000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892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486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080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675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269" indent="-342892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863" indent="-342892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457" indent="-342892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051" indent="-342892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1" y="2192000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892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486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080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675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269" indent="-342892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863" indent="-342892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457" indent="-342892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051" indent="-342892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4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594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33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383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34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4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45" indent="-365751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378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28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879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93083447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or Content Highligh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557188" y="2605306"/>
            <a:ext cx="3139200" cy="1546860"/>
          </a:xfrm>
          <a:prstGeom prst="rect">
            <a:avLst/>
          </a:prstGeom>
        </p:spPr>
        <p:txBody>
          <a:bodyPr tIns="182880" anchor="b" anchorCtr="0"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8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557188" y="4289326"/>
            <a:ext cx="3139200" cy="35052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ts val="19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537269" y="2605306"/>
            <a:ext cx="4771390" cy="1546622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r">
              <a:buFontTx/>
              <a:buNone/>
              <a:defRPr sz="4000">
                <a:solidFill>
                  <a:schemeClr val="bg2"/>
                </a:solidFill>
                <a:latin typeface="Rockwell" panose="02060603020205020403" pitchFamily="18" charset="0"/>
                <a:ea typeface="Rockwell" panose="02060603020205020403" pitchFamily="18" charset="0"/>
                <a:cs typeface="Rockwell" panose="02060603020205020403" pitchFamily="18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0"/>
            <a:ext cx="914400" cy="231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38258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or Content Highlight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890357" y="1913319"/>
            <a:ext cx="3819280" cy="2286000"/>
          </a:xfrm>
          <a:prstGeom prst="rect">
            <a:avLst/>
          </a:prstGeom>
        </p:spPr>
        <p:txBody>
          <a:bodyPr tIns="182880" anchor="b" anchorCtr="0"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890357" y="4435539"/>
            <a:ext cx="3819280" cy="2892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ts val="19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831001" y="1912843"/>
            <a:ext cx="2725737" cy="2286000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r">
              <a:buFontTx/>
              <a:buNone/>
              <a:defRPr sz="4000">
                <a:solidFill>
                  <a:schemeClr val="bg1"/>
                </a:solidFill>
                <a:latin typeface="Rockwell" panose="02060603020205020403" pitchFamily="18" charset="0"/>
                <a:ea typeface="Rockwell" panose="02060603020205020403" pitchFamily="18" charset="0"/>
                <a:cs typeface="Rockwell" panose="02060603020205020403" pitchFamily="18" charset="0"/>
              </a:defRPr>
            </a:lvl1pPr>
            <a:lvl2pPr marL="228600" indent="0" algn="r">
              <a:buFontTx/>
              <a:buNone/>
              <a:defRPr/>
            </a:lvl2pPr>
            <a:lvl3pPr marL="457200" indent="0" algn="r">
              <a:buFontTx/>
              <a:buNone/>
              <a:defRPr/>
            </a:lvl3pPr>
            <a:lvl4pPr marL="685800" indent="0" algn="r">
              <a:buFontTx/>
              <a:buNone/>
              <a:defRPr/>
            </a:lvl4pPr>
            <a:lvl5pPr marL="914400" indent="0" algn="r">
              <a:buFontTx/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0"/>
            <a:ext cx="914400" cy="231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798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October 10, 2017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8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819667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with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6533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with bulleted list and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62610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al paragraph with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02303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al paragraph with bulleted list and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882088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mbered Lis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8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38496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mbered List with header and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8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860240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8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1930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mbered List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8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471493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uble Basic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2199797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9797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65439918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uble Basic Paragraph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2199797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9797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4952917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asic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October 10, 2017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2199797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9797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68838604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uble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2193741"/>
            <a:ext cx="4084637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3741"/>
            <a:ext cx="4084320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50682257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uble Bulleted List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2193741"/>
            <a:ext cx="4084637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3741"/>
            <a:ext cx="4084320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76185596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uble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2191999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1999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63993229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uble Numbered List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pic>
        <p:nvPicPr>
          <p:cNvPr id="23" name="Picture 22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2191999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1999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2450788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21674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</p:spTree>
    <p:extLst>
      <p:ext uri="{BB962C8B-B14F-4D97-AF65-F5344CB8AC3E}">
        <p14:creationId xmlns:p14="http://schemas.microsoft.com/office/powerpoint/2010/main" val="56940192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08610"/>
            <a:ext cx="6858000" cy="6858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 Black"/>
                <a:cs typeface="Arial Black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595634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4/10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579648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stryker_title_slide2.jpg">
            <a:extLst>
              <a:ext uri="{FF2B5EF4-FFF2-40B4-BE49-F238E27FC236}">
                <a16:creationId xmlns:a16="http://schemas.microsoft.com/office/drawing/2014/main" id="{83A8C970-0155-4975-BC47-1EF2632C96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1">
            <a:extLst>
              <a:ext uri="{FF2B5EF4-FFF2-40B4-BE49-F238E27FC236}">
                <a16:creationId xmlns:a16="http://schemas.microsoft.com/office/drawing/2014/main" id="{8F68D21C-6638-4F1B-BE38-89FAB2A50F2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8438" y="320675"/>
            <a:ext cx="9144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76" y="504129"/>
            <a:ext cx="4840224" cy="1586973"/>
          </a:xfrm>
          <a:prstGeom prst="rect">
            <a:avLst/>
          </a:prstGeom>
        </p:spPr>
        <p:txBody>
          <a:bodyPr anchor="b"/>
          <a:lstStyle>
            <a:lvl1pPr>
              <a:lnSpc>
                <a:spcPts val="5500"/>
              </a:lnSpc>
              <a:defRPr sz="4800">
                <a:latin typeface="Rockwell"/>
                <a:cs typeface="Rockwell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76" y="2126906"/>
            <a:ext cx="4837176" cy="557213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4000" b="0" i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096001" y="2242566"/>
            <a:ext cx="2501733" cy="1300734"/>
          </a:xfrm>
          <a:prstGeom prst="rect">
            <a:avLst/>
          </a:prstGeom>
        </p:spPr>
        <p:txBody>
          <a:bodyPr anchor="t" anchorCtr="0"/>
          <a:lstStyle>
            <a:lvl1pPr marL="0" indent="0" algn="r">
              <a:lnSpc>
                <a:spcPct val="110000"/>
              </a:lnSpc>
              <a:spcAft>
                <a:spcPts val="0"/>
              </a:spcAft>
              <a:buNone/>
              <a:defRPr sz="2100" b="0">
                <a:latin typeface="Arial Black"/>
                <a:cs typeface="Arial Black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096001" y="4514851"/>
            <a:ext cx="2501733" cy="230833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None/>
              <a:defRPr sz="1200" b="0">
                <a:latin typeface="Cambria"/>
                <a:cs typeface="Cambri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688058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stryker_title_slide2.jpg">
            <a:extLst>
              <a:ext uri="{FF2B5EF4-FFF2-40B4-BE49-F238E27FC236}">
                <a16:creationId xmlns:a16="http://schemas.microsoft.com/office/drawing/2014/main" id="{26844A82-D265-4B3C-8D77-FC4D48DC8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1">
            <a:extLst>
              <a:ext uri="{FF2B5EF4-FFF2-40B4-BE49-F238E27FC236}">
                <a16:creationId xmlns:a16="http://schemas.microsoft.com/office/drawing/2014/main" id="{D84149DD-AA26-4C1E-A6BA-1664488103C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8438" y="320675"/>
            <a:ext cx="9144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76" y="504129"/>
            <a:ext cx="4840224" cy="1586973"/>
          </a:xfrm>
          <a:prstGeom prst="rect">
            <a:avLst/>
          </a:prstGeom>
        </p:spPr>
        <p:txBody>
          <a:bodyPr anchor="b"/>
          <a:lstStyle>
            <a:lvl1pPr>
              <a:lnSpc>
                <a:spcPts val="5500"/>
              </a:lnSpc>
              <a:defRPr sz="4800">
                <a:latin typeface="Rockwell"/>
                <a:cs typeface="Rockwell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76" y="2126906"/>
            <a:ext cx="4837176" cy="557213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4000" b="0" i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22376" y="3086100"/>
            <a:ext cx="4840224" cy="1300734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2100" b="0">
                <a:latin typeface="Arial Black"/>
                <a:cs typeface="Arial Black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096001" y="4514851"/>
            <a:ext cx="2501733" cy="230833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None/>
              <a:defRPr sz="1200" b="0">
                <a:latin typeface="Cambria"/>
                <a:cs typeface="Cambri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58099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asic Paragraph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October 10, 2017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2199797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9797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5039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or Content Highligh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278496"/>
            <a:ext cx="6172200" cy="1314450"/>
          </a:xfrm>
          <a:prstGeom prst="rect">
            <a:avLst/>
          </a:prstGeom>
        </p:spPr>
        <p:txBody>
          <a:bodyPr/>
          <a:lstStyle>
            <a:lvl1pPr algn="l">
              <a:lnSpc>
                <a:spcPct val="110000"/>
              </a:lnSpc>
              <a:spcAft>
                <a:spcPts val="2000"/>
              </a:spcAft>
              <a:defRPr sz="2100" b="0" cap="none" baseline="0">
                <a:latin typeface="Arial Black"/>
                <a:cs typeface="Arial Black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480" y="610530"/>
            <a:ext cx="6172200" cy="1467652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ts val="5500"/>
              </a:lnSpc>
              <a:spcAft>
                <a:spcPts val="0"/>
              </a:spcAft>
              <a:buNone/>
              <a:defRPr sz="5400">
                <a:solidFill>
                  <a:schemeClr val="bg2"/>
                </a:solidFill>
                <a:latin typeface="Rockwell"/>
                <a:cs typeface="Rockwell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16A66C-40F8-4257-99D8-D0393E788B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A2D72-037C-4CBB-B957-25469AE39865}" type="datetime4">
              <a:rPr lang="en-US"/>
              <a:pPr>
                <a:defRPr/>
              </a:pPr>
              <a:t>April 10, 2019</a:t>
            </a:fld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0DAC0BF-4B60-4EA0-9038-139A47507F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C33538-AC21-475A-B713-A2B6633F17D4}" type="slidenum">
              <a:rPr lang="en-US" altLang="de-DE"/>
              <a:pPr>
                <a:defRPr/>
              </a:pPr>
              <a:t>‹#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65506383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Title or Content Highligh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1">
            <a:extLst>
              <a:ext uri="{FF2B5EF4-FFF2-40B4-BE49-F238E27FC236}">
                <a16:creationId xmlns:a16="http://schemas.microsoft.com/office/drawing/2014/main" id="{5554E1F5-1426-40AA-88F7-FF7FD8DA5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625"/>
          <a:stretch>
            <a:fillRect/>
          </a:stretch>
        </p:blipFill>
        <p:spPr bwMode="auto">
          <a:xfrm>
            <a:off x="0" y="0"/>
            <a:ext cx="9144000" cy="4751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1">
            <a:extLst>
              <a:ext uri="{FF2B5EF4-FFF2-40B4-BE49-F238E27FC236}">
                <a16:creationId xmlns:a16="http://schemas.microsoft.com/office/drawing/2014/main" id="{3EB938E3-DCF1-4BAA-BA05-AAB54C4D60C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8438" y="320675"/>
            <a:ext cx="9144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705" y="2533852"/>
            <a:ext cx="4883505" cy="1683216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600" b="0" cap="none" baseline="0">
                <a:solidFill>
                  <a:schemeClr val="bg2"/>
                </a:solidFill>
                <a:latin typeface="Arial Black"/>
                <a:cs typeface="Arial Black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52574" y="2533852"/>
            <a:ext cx="3237858" cy="1683216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800">
                <a:solidFill>
                  <a:schemeClr val="bg1"/>
                </a:solidFill>
                <a:latin typeface="Rockwell"/>
                <a:cs typeface="Rockwell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3"/>
          </p:nvPr>
        </p:nvSpPr>
        <p:spPr>
          <a:xfrm>
            <a:off x="5552574" y="4339651"/>
            <a:ext cx="3237858" cy="345119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lnSpc>
                <a:spcPts val="19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Cambria"/>
                <a:cs typeface="Cambria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E70E3700-A62F-4200-9138-9FEC846C50D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310420-3D9B-4D37-A8AD-CA30030AC283}" type="datetime4">
              <a:rPr lang="en-US"/>
              <a:pPr>
                <a:defRPr/>
              </a:pPr>
              <a:t>April 10, 2019</a:t>
            </a:fld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442E58E-908B-45E6-8AB6-9AAFF3C2665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DDC4D7-A575-4DD2-990F-7841A7271208}" type="slidenum">
              <a:rPr lang="en-US" altLang="de-DE"/>
              <a:pPr>
                <a:defRPr/>
              </a:pPr>
              <a:t>‹#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181029546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or Content Highlight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>
            <a:extLst>
              <a:ext uri="{FF2B5EF4-FFF2-40B4-BE49-F238E27FC236}">
                <a16:creationId xmlns:a16="http://schemas.microsoft.com/office/drawing/2014/main" id="{CF931404-E23C-4EF1-AA62-DADDB87F1B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672"/>
          <a:stretch>
            <a:fillRect/>
          </a:stretch>
        </p:blipFill>
        <p:spPr bwMode="auto">
          <a:xfrm>
            <a:off x="0" y="0"/>
            <a:ext cx="9144000" cy="469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1">
            <a:extLst>
              <a:ext uri="{FF2B5EF4-FFF2-40B4-BE49-F238E27FC236}">
                <a16:creationId xmlns:a16="http://schemas.microsoft.com/office/drawing/2014/main" id="{1EF8326A-D831-4332-9933-5AA790DD1D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8438" y="320675"/>
            <a:ext cx="9144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4184" y="1783830"/>
            <a:ext cx="3395272" cy="2508334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600" b="0" cap="none" baseline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4818055" y="2571750"/>
            <a:ext cx="3751273" cy="1683216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Rockwell"/>
                <a:cs typeface="Rockwell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4818055" y="4377128"/>
            <a:ext cx="3751272" cy="372236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lnSpc>
                <a:spcPts val="19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Cambria"/>
                <a:cs typeface="Cambria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82A75D85-FA73-4163-8ADF-0FD77E33CD8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809483-733C-4B81-8854-4F37FCFB8095}" type="datetime4">
              <a:rPr lang="en-US"/>
              <a:pPr>
                <a:defRPr/>
              </a:pPr>
              <a:t>April 10, 2019</a:t>
            </a:fld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58D1F91-4861-466D-9728-43CD4D3A494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24EA47-3773-411D-8F17-782D82409423}" type="slidenum">
              <a:rPr lang="en-US" altLang="de-DE"/>
              <a:pPr>
                <a:defRPr/>
              </a:pPr>
              <a:t>‹#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73317860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480" y="308610"/>
            <a:ext cx="6858000" cy="6858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 Black"/>
                <a:cs typeface="Arial Black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1480" y="1314450"/>
            <a:ext cx="8351520" cy="31432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10000"/>
              </a:lnSpc>
              <a:spcAft>
                <a:spcPts val="1200"/>
              </a:spcAft>
              <a:buFont typeface="Arial" panose="020B0604020202020204" pitchFamily="34" charset="0"/>
              <a:buNone/>
              <a:defRPr sz="1800" baseline="0">
                <a:solidFill>
                  <a:schemeClr val="tx1"/>
                </a:solidFill>
                <a:latin typeface="Cambria"/>
                <a:cs typeface="Cambria"/>
              </a:defRPr>
            </a:lvl1pPr>
            <a:lvl2pPr marL="457200" indent="0" algn="l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 marL="914400" indent="0" algn="l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3pPr>
            <a:lvl4pPr marL="1371600" indent="0" algn="l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4pPr>
            <a:lvl5pPr marL="1828800" indent="0" algn="l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E9197D-B6E8-4D4C-901D-D5C91ABCCA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11163" y="4781550"/>
            <a:ext cx="1143000" cy="138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F6C226-5BF1-405D-95A3-AEF64B8120A0}" type="datetime4">
              <a:rPr lang="en-US"/>
              <a:pPr>
                <a:defRPr/>
              </a:pPr>
              <a:t>April 10, 2019</a:t>
            </a:fld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62346CF-8737-4E4D-A9BF-B9CB59509E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61388" y="4781550"/>
            <a:ext cx="228600" cy="138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FBDCF2-C104-4DFE-9C82-AE2D8716E4F1}" type="slidenum">
              <a:rPr lang="en-US" altLang="de-DE"/>
              <a:pPr>
                <a:defRPr/>
              </a:pPr>
              <a:t>‹#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282178816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Paragraph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Dimensional Frame.png">
            <a:extLst>
              <a:ext uri="{FF2B5EF4-FFF2-40B4-BE49-F238E27FC236}">
                <a16:creationId xmlns:a16="http://schemas.microsoft.com/office/drawing/2014/main" id="{207E104C-CB9B-41E2-B077-8D4C03ED37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>
            <a:fillRect/>
          </a:stretch>
        </p:blipFill>
        <p:spPr bwMode="auto">
          <a:xfrm>
            <a:off x="26988" y="1004888"/>
            <a:ext cx="9107487" cy="3748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480" y="308610"/>
            <a:ext cx="6858000" cy="6858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 Black"/>
                <a:cs typeface="Arial Black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1480" y="1314450"/>
            <a:ext cx="8351520" cy="31432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10000"/>
              </a:lnSpc>
              <a:spcAft>
                <a:spcPts val="1200"/>
              </a:spcAft>
              <a:buFont typeface="Arial" panose="020B0604020202020204" pitchFamily="34" charset="0"/>
              <a:buNone/>
              <a:defRPr sz="1800" baseline="0">
                <a:solidFill>
                  <a:schemeClr val="tx1"/>
                </a:solidFill>
                <a:latin typeface="Cambria"/>
                <a:cs typeface="Cambria"/>
              </a:defRPr>
            </a:lvl1pPr>
            <a:lvl2pPr marL="742950" indent="-285750" algn="l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1200150" indent="-285750" algn="l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1657350" indent="-285750" algn="l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2114550" indent="-285750" algn="l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  <a:lvl6pPr marL="2571750" indent="-285750" algn="l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A2E1B91-5074-41B0-BFD2-25BE6610A8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11163" y="4781550"/>
            <a:ext cx="1143000" cy="138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4F7C74-C160-4D33-9B79-6BF88DDF984A}" type="datetime4">
              <a:rPr lang="en-US"/>
              <a:pPr>
                <a:defRPr/>
              </a:pPr>
              <a:t>April 10, 2019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4306A4-56B9-41D2-B198-4FDC054D2FA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61388" y="4781550"/>
            <a:ext cx="228600" cy="138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546AB0-5A3A-4E0E-A2B9-78B60753152E}" type="slidenum">
              <a:rPr lang="en-US" altLang="de-DE"/>
              <a:pPr>
                <a:defRPr/>
              </a:pPr>
              <a:t>‹#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70385038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List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Dimensional Frame.png">
            <a:extLst>
              <a:ext uri="{FF2B5EF4-FFF2-40B4-BE49-F238E27FC236}">
                <a16:creationId xmlns:a16="http://schemas.microsoft.com/office/drawing/2014/main" id="{F2093145-E5EF-4341-B643-576B6732E5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>
            <a:fillRect/>
          </a:stretch>
        </p:blipFill>
        <p:spPr bwMode="auto">
          <a:xfrm>
            <a:off x="26988" y="1004888"/>
            <a:ext cx="9107487" cy="3748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1480" y="308610"/>
            <a:ext cx="6858000" cy="6858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 Black"/>
                <a:cs typeface="Arial Black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11480" y="1314450"/>
            <a:ext cx="8351520" cy="3086100"/>
          </a:xfrm>
          <a:prstGeom prst="rect">
            <a:avLst/>
          </a:prstGeom>
        </p:spPr>
        <p:txBody>
          <a:bodyPr vert="horz"/>
          <a:lstStyle>
            <a:lvl1pPr marL="256032" indent="-256032" algn="l">
              <a:lnSpc>
                <a:spcPct val="120000"/>
              </a:lnSpc>
              <a:spcAft>
                <a:spcPts val="600"/>
              </a:spcAft>
              <a:buFont typeface="Arial"/>
              <a:buChar char="•"/>
              <a:defRPr sz="1800" b="0">
                <a:latin typeface="Cambria"/>
                <a:cs typeface="Cambria"/>
              </a:defRPr>
            </a:lvl1pPr>
            <a:lvl2pPr marL="457200" indent="-228600" algn="l">
              <a:lnSpc>
                <a:spcPct val="120000"/>
              </a:lnSpc>
              <a:spcAft>
                <a:spcPts val="600"/>
              </a:spcAft>
              <a:buFont typeface="Courier New"/>
              <a:buChar char="o"/>
              <a:defRPr sz="1800">
                <a:latin typeface="Cambria"/>
                <a:cs typeface="Cambria"/>
              </a:defRPr>
            </a:lvl2pPr>
            <a:lvl3pPr marL="685800" indent="-228600" algn="l">
              <a:lnSpc>
                <a:spcPct val="120000"/>
              </a:lnSpc>
              <a:spcAft>
                <a:spcPts val="600"/>
              </a:spcAft>
              <a:buFont typeface="Lucida Grande"/>
              <a:buChar char="-"/>
              <a:defRPr sz="1600">
                <a:latin typeface="Cambria"/>
                <a:cs typeface="Cambria"/>
              </a:defRPr>
            </a:lvl3pPr>
            <a:lvl4pPr algn="l">
              <a:lnSpc>
                <a:spcPct val="120000"/>
              </a:lnSpc>
              <a:spcAft>
                <a:spcPts val="600"/>
              </a:spcAft>
              <a:defRPr sz="1600">
                <a:latin typeface="Cambria"/>
                <a:cs typeface="Cambria"/>
              </a:defRPr>
            </a:lvl4pPr>
            <a:lvl5pPr marL="1143000" indent="-228600" algn="l">
              <a:lnSpc>
                <a:spcPct val="120000"/>
              </a:lnSpc>
              <a:spcAft>
                <a:spcPts val="600"/>
              </a:spcAft>
              <a:buFont typeface="Courier New"/>
              <a:buChar char="o"/>
              <a:defRPr sz="1400">
                <a:latin typeface="Cambria"/>
                <a:cs typeface="Cambria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e Placeholder 2">
            <a:extLst>
              <a:ext uri="{FF2B5EF4-FFF2-40B4-BE49-F238E27FC236}">
                <a16:creationId xmlns:a16="http://schemas.microsoft.com/office/drawing/2014/main" id="{9FF134DD-4582-490B-9676-CEB1A33F38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C04447-02AD-4C3C-8831-C7C03672BD88}" type="datetime4">
              <a:rPr lang="en-US"/>
              <a:pPr>
                <a:defRPr/>
              </a:pPr>
              <a:t>April 10, 2019</a:t>
            </a:fld>
            <a:endParaRPr lang="en-US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04AD701-5EE2-4C03-93C7-DBD6537B799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B6660E-BFC5-416E-B17A-7797BBDB17E7}" type="slidenum">
              <a:rPr lang="en-US" altLang="de-DE"/>
              <a:pPr>
                <a:defRPr/>
              </a:pPr>
              <a:t>‹#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222581885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480" y="308610"/>
            <a:ext cx="6858000" cy="6858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 Black"/>
                <a:cs typeface="Arial Black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11480" y="1314450"/>
            <a:ext cx="8351520" cy="3086100"/>
          </a:xfrm>
          <a:prstGeom prst="rect">
            <a:avLst/>
          </a:prstGeom>
        </p:spPr>
        <p:txBody>
          <a:bodyPr vert="horz"/>
          <a:lstStyle>
            <a:lvl1pPr marL="256032" indent="-256032" algn="l">
              <a:lnSpc>
                <a:spcPct val="120000"/>
              </a:lnSpc>
              <a:spcAft>
                <a:spcPts val="600"/>
              </a:spcAft>
              <a:buFont typeface="Arial"/>
              <a:buChar char="•"/>
              <a:defRPr sz="1800" b="0">
                <a:latin typeface="Cambria"/>
                <a:cs typeface="Cambria"/>
              </a:defRPr>
            </a:lvl1pPr>
            <a:lvl2pPr marL="457200" indent="-228600" algn="l">
              <a:lnSpc>
                <a:spcPct val="120000"/>
              </a:lnSpc>
              <a:spcAft>
                <a:spcPts val="600"/>
              </a:spcAft>
              <a:buFont typeface="Courier New"/>
              <a:buChar char="o"/>
              <a:defRPr sz="1800">
                <a:latin typeface="Cambria"/>
                <a:cs typeface="Cambria"/>
              </a:defRPr>
            </a:lvl2pPr>
            <a:lvl3pPr marL="685800" indent="-228600" algn="l">
              <a:lnSpc>
                <a:spcPct val="120000"/>
              </a:lnSpc>
              <a:spcAft>
                <a:spcPts val="600"/>
              </a:spcAft>
              <a:buFont typeface="Lucida Grande"/>
              <a:buChar char="-"/>
              <a:defRPr sz="1600">
                <a:latin typeface="Cambria"/>
                <a:cs typeface="Cambria"/>
              </a:defRPr>
            </a:lvl3pPr>
            <a:lvl4pPr algn="l">
              <a:lnSpc>
                <a:spcPct val="120000"/>
              </a:lnSpc>
              <a:spcAft>
                <a:spcPts val="600"/>
              </a:spcAft>
              <a:defRPr sz="1600">
                <a:latin typeface="Cambria"/>
                <a:cs typeface="Cambria"/>
              </a:defRPr>
            </a:lvl4pPr>
            <a:lvl5pPr marL="1143000" indent="-228600" algn="l">
              <a:lnSpc>
                <a:spcPct val="120000"/>
              </a:lnSpc>
              <a:spcAft>
                <a:spcPts val="600"/>
              </a:spcAft>
              <a:buFont typeface="Courier New"/>
              <a:buChar char="o"/>
              <a:defRPr sz="1400">
                <a:latin typeface="Cambria"/>
                <a:cs typeface="Cambria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51D89C-C872-46E5-9957-8364867F22A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411163" y="4781550"/>
            <a:ext cx="1143000" cy="138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BDED85-BBC8-41B9-AAB7-0CE1A94F9222}" type="datetime4">
              <a:rPr lang="en-US"/>
              <a:pPr>
                <a:defRPr/>
              </a:pPr>
              <a:t>April 10, 2019</a:t>
            </a:fld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F091CC4-FA21-476B-AB69-2192B13DC54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561388" y="4781550"/>
            <a:ext cx="228600" cy="138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C0293F-C7E7-461B-9AD4-08528149620C}" type="slidenum">
              <a:rPr lang="en-US" altLang="de-DE"/>
              <a:pPr>
                <a:defRPr/>
              </a:pPr>
              <a:t>‹#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410668945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Lis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480" y="308610"/>
            <a:ext cx="6858000" cy="6858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 Black"/>
                <a:cs typeface="Arial Black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11480" y="1314450"/>
            <a:ext cx="8351520" cy="30861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20000"/>
              </a:lnSpc>
              <a:spcAft>
                <a:spcPts val="600"/>
              </a:spcAft>
              <a:defRPr sz="1800" b="1">
                <a:latin typeface="Cambria"/>
                <a:cs typeface="Cambria"/>
              </a:defRPr>
            </a:lvl1pPr>
            <a:lvl2pPr algn="l">
              <a:lnSpc>
                <a:spcPct val="120000"/>
              </a:lnSpc>
              <a:spcAft>
                <a:spcPts val="600"/>
              </a:spcAft>
              <a:defRPr sz="1800">
                <a:latin typeface="Cambria"/>
                <a:cs typeface="Cambria"/>
              </a:defRPr>
            </a:lvl2pPr>
            <a:lvl3pPr marL="685800" indent="-228600" algn="l">
              <a:lnSpc>
                <a:spcPct val="120000"/>
              </a:lnSpc>
              <a:spcAft>
                <a:spcPts val="600"/>
              </a:spcAft>
              <a:buFont typeface="Courier New"/>
              <a:buChar char="o"/>
              <a:defRPr sz="1600">
                <a:latin typeface="Cambria"/>
                <a:cs typeface="Cambria"/>
              </a:defRPr>
            </a:lvl3pPr>
            <a:lvl4pPr marL="914400" indent="-228600" algn="l">
              <a:lnSpc>
                <a:spcPct val="120000"/>
              </a:lnSpc>
              <a:spcAft>
                <a:spcPts val="600"/>
              </a:spcAft>
              <a:buFont typeface="Lucida Grande"/>
              <a:buChar char="-"/>
              <a:defRPr sz="1600">
                <a:latin typeface="Cambria"/>
                <a:cs typeface="Cambria"/>
              </a:defRPr>
            </a:lvl4pPr>
            <a:lvl5pPr marL="1143000" indent="-228600" algn="l">
              <a:lnSpc>
                <a:spcPct val="120000"/>
              </a:lnSpc>
              <a:spcAft>
                <a:spcPts val="600"/>
              </a:spcAft>
              <a:buFont typeface="Arial"/>
              <a:buChar char="•"/>
              <a:defRPr sz="1400">
                <a:latin typeface="Cambria"/>
                <a:cs typeface="Cambria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AB1D7A-4F40-4537-9355-48271169E02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411163" y="4781550"/>
            <a:ext cx="1143000" cy="138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0D4B9B-062F-48F3-984A-971F67CCF0C4}" type="datetime4">
              <a:rPr lang="en-US"/>
              <a:pPr>
                <a:defRPr/>
              </a:pPr>
              <a:t>April 10, 2019</a:t>
            </a:fld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51E28C6-8681-4735-8E2B-3FB54F3C8C2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561388" y="4781550"/>
            <a:ext cx="228600" cy="138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9FB88A-3925-43BB-B44B-9BACD87C7625}" type="slidenum">
              <a:rPr lang="en-US" altLang="de-DE"/>
              <a:pPr>
                <a:defRPr/>
              </a:pPr>
              <a:t>‹#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363125076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480" y="308610"/>
            <a:ext cx="6858000" cy="6858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 Black"/>
                <a:cs typeface="Arial Black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11480" y="1314450"/>
            <a:ext cx="8351520" cy="3086100"/>
          </a:xfrm>
          <a:prstGeom prst="rect">
            <a:avLst/>
          </a:prstGeom>
        </p:spPr>
        <p:txBody>
          <a:bodyPr vert="horz"/>
          <a:lstStyle>
            <a:lvl1pPr marL="3657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800">
                <a:latin typeface="Cambria"/>
                <a:cs typeface="Cambria"/>
              </a:defRPr>
            </a:lvl1pPr>
            <a:lvl2pPr marL="77724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800">
                <a:latin typeface="Cambria"/>
                <a:cs typeface="Cambria"/>
              </a:defRPr>
            </a:lvl2pPr>
            <a:lvl3pPr marL="109728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Cambria"/>
                <a:cs typeface="Cambria"/>
              </a:defRPr>
            </a:lvl3pPr>
            <a:lvl4pPr marL="146304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>
                <a:latin typeface="Cambria"/>
                <a:cs typeface="Cambria"/>
              </a:defRPr>
            </a:lvl4pPr>
            <a:lvl5pPr marL="18288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Cambria"/>
                <a:cs typeface="Cambria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481995-5A17-4661-9072-7FA9F452ED5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411163" y="4781550"/>
            <a:ext cx="1143000" cy="138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43AE57-4057-443C-B35B-CE2D660382CC}" type="datetime4">
              <a:rPr lang="en-US"/>
              <a:pPr>
                <a:defRPr/>
              </a:pPr>
              <a:t>April 10, 2019</a:t>
            </a:fld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9ED77D4-6466-4E5C-8822-7D36E618358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561388" y="4781550"/>
            <a:ext cx="228600" cy="138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5497B0-7FBA-4E4B-852E-786B5FDE5233}" type="slidenum">
              <a:rPr lang="en-US" altLang="de-DE"/>
              <a:pPr>
                <a:defRPr/>
              </a:pPr>
              <a:t>‹#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249804503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480" y="308610"/>
            <a:ext cx="6858000" cy="6858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 Black"/>
                <a:cs typeface="Arial Black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11480" y="1314450"/>
            <a:ext cx="8351520" cy="30861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/>
                <a:cs typeface="Cambria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800">
                <a:latin typeface="Cambria"/>
                <a:cs typeface="Cambria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600">
                <a:latin typeface="Cambria"/>
                <a:cs typeface="Cambria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Cambria"/>
                <a:cs typeface="Cambria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400">
                <a:latin typeface="Cambria"/>
                <a:cs typeface="Cambria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BF0692-E4B2-4C83-A950-B2F905C1D97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411163" y="4781550"/>
            <a:ext cx="1143000" cy="138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5ADCB8-256B-49D0-B353-BEE79C989573}" type="datetime4">
              <a:rPr lang="en-US"/>
              <a:pPr>
                <a:defRPr/>
              </a:pPr>
              <a:t>April 10, 2019</a:t>
            </a:fld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D622DC0-EF5B-4CBB-88ED-928B9A79570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561388" y="4781550"/>
            <a:ext cx="228600" cy="138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188BF0-4720-425E-8839-6D540D8F412A}" type="slidenum">
              <a:rPr lang="en-US" altLang="de-DE"/>
              <a:pPr>
                <a:defRPr/>
              </a:pPr>
              <a:t>‹#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16583700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October 10, 2017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2193741"/>
            <a:ext cx="4084637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3741"/>
            <a:ext cx="4084320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140208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asic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480" y="308610"/>
            <a:ext cx="6858000" cy="6858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 Black"/>
                <a:cs typeface="Arial Black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11480" y="1314450"/>
            <a:ext cx="4084320" cy="6858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/>
                <a:cs typeface="Cambria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4648200" y="1314450"/>
            <a:ext cx="4084320" cy="6858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/>
                <a:cs typeface="Cambria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11480" y="2114550"/>
            <a:ext cx="4084320" cy="234315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10000"/>
              </a:lnSpc>
              <a:spcAft>
                <a:spcPts val="600"/>
              </a:spcAft>
              <a:defRPr sz="1800">
                <a:latin typeface="Cambria"/>
                <a:cs typeface="Cambria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Cambria" panose="02040503050406030204" pitchFamily="18" charset="0"/>
                <a:cs typeface="Cambria" panose="02040503050406030204" pitchFamily="18" charset="0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+mn-lt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Cambria" panose="02040503050406030204" pitchFamily="18" charset="0"/>
                <a:cs typeface="Cambria" panose="02040503050406030204" pitchFamily="18" charset="0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Cambria" panose="02040503050406030204" pitchFamily="18" charset="0"/>
                <a:cs typeface="Cambria" panose="02040503050406030204" pitchFamily="18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48200" y="2114550"/>
            <a:ext cx="4084320" cy="234315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10000"/>
              </a:lnSpc>
              <a:spcAft>
                <a:spcPts val="600"/>
              </a:spcAft>
              <a:defRPr sz="1800">
                <a:latin typeface="Cambria"/>
                <a:cs typeface="Cambria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Tx/>
              <a:buNone/>
              <a:defRPr sz="1600">
                <a:latin typeface="+mn-lt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Tx/>
              <a:buNone/>
              <a:defRPr sz="1600">
                <a:latin typeface="Cambria" panose="02040503050406030204" pitchFamily="18" charset="0"/>
                <a:cs typeface="Cambria" panose="02040503050406030204" pitchFamily="18" charset="0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Tx/>
              <a:buNone/>
              <a:defRPr sz="1400">
                <a:latin typeface="Cambria" panose="02040503050406030204" pitchFamily="18" charset="0"/>
                <a:cs typeface="Cambria" panose="02040503050406030204" pitchFamily="18" charset="0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764713F-038F-481F-97BB-E95E8461DA5A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411163" y="4781550"/>
            <a:ext cx="1143000" cy="138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B9A24A-C0E7-4EC7-B184-A561569CC470}" type="datetime4">
              <a:rPr lang="en-US"/>
              <a:pPr>
                <a:defRPr/>
              </a:pPr>
              <a:t>April 10, 2019</a:t>
            </a:fld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D9D4867-5178-4A0A-9B2C-0A8FBE0FA6A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8561388" y="4781550"/>
            <a:ext cx="228600" cy="138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894005-C41D-4912-8794-37592242567F}" type="slidenum">
              <a:rPr lang="en-US" altLang="de-DE"/>
              <a:pPr>
                <a:defRPr/>
              </a:pPr>
              <a:t>‹#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26602762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11480" y="2122820"/>
            <a:ext cx="4084320" cy="2334881"/>
          </a:xfrm>
          <a:prstGeom prst="rect">
            <a:avLst/>
          </a:prstGeom>
        </p:spPr>
        <p:txBody>
          <a:bodyPr vert="horz"/>
          <a:lstStyle>
            <a:lvl1pPr marL="256032" indent="-256032" algn="l">
              <a:lnSpc>
                <a:spcPct val="120000"/>
              </a:lnSpc>
              <a:spcAft>
                <a:spcPts val="600"/>
              </a:spcAft>
              <a:buFont typeface="Arial"/>
              <a:buChar char="•"/>
              <a:defRPr sz="1800" b="0">
                <a:latin typeface="Cambria"/>
                <a:cs typeface="Cambria"/>
              </a:defRPr>
            </a:lvl1pPr>
            <a:lvl2pPr marL="514350" indent="-285750" algn="l">
              <a:lnSpc>
                <a:spcPct val="120000"/>
              </a:lnSpc>
              <a:spcAft>
                <a:spcPts val="600"/>
              </a:spcAft>
              <a:buFont typeface="Courier New"/>
              <a:buChar char="o"/>
              <a:defRPr sz="1800">
                <a:latin typeface="Cambria"/>
                <a:cs typeface="Cambria"/>
              </a:defRPr>
            </a:lvl2pPr>
            <a:lvl3pPr marL="685800" indent="-228600" algn="l">
              <a:lnSpc>
                <a:spcPct val="120000"/>
              </a:lnSpc>
              <a:spcAft>
                <a:spcPts val="600"/>
              </a:spcAft>
              <a:buFont typeface="Lucida Grande"/>
              <a:buChar char="-"/>
              <a:defRPr sz="1600">
                <a:latin typeface="Cambria"/>
                <a:cs typeface="Cambria"/>
              </a:defRPr>
            </a:lvl3pPr>
            <a:lvl4pPr algn="l">
              <a:lnSpc>
                <a:spcPct val="120000"/>
              </a:lnSpc>
              <a:spcAft>
                <a:spcPts val="600"/>
              </a:spcAft>
              <a:defRPr sz="1600">
                <a:latin typeface="Cambria"/>
                <a:cs typeface="Cambria"/>
              </a:defRPr>
            </a:lvl4pPr>
            <a:lvl5pPr marL="1143000" indent="-228600" algn="l">
              <a:lnSpc>
                <a:spcPct val="120000"/>
              </a:lnSpc>
              <a:spcAft>
                <a:spcPts val="600"/>
              </a:spcAft>
              <a:buFont typeface="Courier New"/>
              <a:buChar char="o"/>
              <a:defRPr sz="1400">
                <a:latin typeface="Cambria"/>
                <a:cs typeface="Cambria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480" y="308610"/>
            <a:ext cx="6858000" cy="6858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 Black"/>
                <a:cs typeface="Arial Black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11480" y="1314450"/>
            <a:ext cx="4084320" cy="6858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/>
                <a:cs typeface="Cambria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4648200" y="1314450"/>
            <a:ext cx="4084320" cy="6858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/>
                <a:cs typeface="Cambria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4648200" y="2122820"/>
            <a:ext cx="4084320" cy="2334881"/>
          </a:xfrm>
          <a:prstGeom prst="rect">
            <a:avLst/>
          </a:prstGeom>
        </p:spPr>
        <p:txBody>
          <a:bodyPr vert="horz"/>
          <a:lstStyle>
            <a:lvl1pPr marL="256032" indent="-256032" algn="l">
              <a:lnSpc>
                <a:spcPct val="120000"/>
              </a:lnSpc>
              <a:spcAft>
                <a:spcPts val="600"/>
              </a:spcAft>
              <a:buFont typeface="Arial"/>
              <a:buChar char="•"/>
              <a:defRPr sz="1800" b="0">
                <a:latin typeface="Cambria"/>
                <a:cs typeface="Cambria"/>
              </a:defRPr>
            </a:lvl1pPr>
            <a:lvl2pPr marL="457200" indent="-228600" algn="l">
              <a:lnSpc>
                <a:spcPct val="120000"/>
              </a:lnSpc>
              <a:spcAft>
                <a:spcPts val="600"/>
              </a:spcAft>
              <a:buFont typeface="Courier New"/>
              <a:buChar char="o"/>
              <a:defRPr sz="1800">
                <a:latin typeface="Cambria"/>
                <a:cs typeface="Cambria"/>
              </a:defRPr>
            </a:lvl2pPr>
            <a:lvl3pPr marL="685800" indent="-228600" algn="l">
              <a:lnSpc>
                <a:spcPct val="120000"/>
              </a:lnSpc>
              <a:spcAft>
                <a:spcPts val="600"/>
              </a:spcAft>
              <a:buFont typeface="Lucida Grande"/>
              <a:buChar char="-"/>
              <a:defRPr sz="1600">
                <a:latin typeface="Cambria"/>
                <a:cs typeface="Cambria"/>
              </a:defRPr>
            </a:lvl3pPr>
            <a:lvl4pPr algn="l">
              <a:lnSpc>
                <a:spcPct val="120000"/>
              </a:lnSpc>
              <a:spcAft>
                <a:spcPts val="600"/>
              </a:spcAft>
              <a:defRPr sz="1600">
                <a:latin typeface="Cambria"/>
                <a:cs typeface="Cambria"/>
              </a:defRPr>
            </a:lvl4pPr>
            <a:lvl5pPr marL="1143000" indent="-228600" algn="l">
              <a:lnSpc>
                <a:spcPct val="120000"/>
              </a:lnSpc>
              <a:spcAft>
                <a:spcPts val="600"/>
              </a:spcAft>
              <a:buFont typeface="Courier New"/>
              <a:buChar char="o"/>
              <a:defRPr sz="1400">
                <a:latin typeface="Cambria"/>
                <a:cs typeface="Cambria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4BBF410D-930C-4AB3-8B9A-1902292D13AF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411163" y="4781550"/>
            <a:ext cx="1143000" cy="138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417A81-B91B-4850-AFEE-FAB71743EC6B}" type="datetime4">
              <a:rPr lang="en-US"/>
              <a:pPr>
                <a:defRPr/>
              </a:pPr>
              <a:t>April 10, 2019</a:t>
            </a:fld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3885BA1-02C9-4C3F-B312-EE3CF788FC6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8561388" y="4781550"/>
            <a:ext cx="228600" cy="138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5C92CB-9C88-47C1-8208-118BAA97382A}" type="slidenum">
              <a:rPr lang="en-US" altLang="de-DE"/>
              <a:pPr>
                <a:defRPr/>
              </a:pPr>
              <a:t>‹#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322482268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4640400" y="2127475"/>
            <a:ext cx="4092120" cy="2330227"/>
          </a:xfrm>
          <a:prstGeom prst="rect">
            <a:avLst/>
          </a:prstGeom>
        </p:spPr>
        <p:txBody>
          <a:bodyPr vert="horz"/>
          <a:lstStyle>
            <a:lvl1pPr marL="3657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800">
                <a:latin typeface="Cambria"/>
                <a:cs typeface="Cambria"/>
              </a:defRPr>
            </a:lvl1pPr>
            <a:lvl2pPr marL="77724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800">
                <a:latin typeface="Cambria"/>
                <a:cs typeface="Cambria"/>
              </a:defRPr>
            </a:lvl2pPr>
            <a:lvl3pPr marL="109728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Cambria"/>
                <a:cs typeface="Cambria"/>
              </a:defRPr>
            </a:lvl3pPr>
            <a:lvl4pPr marL="146304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>
                <a:latin typeface="Cambria"/>
                <a:cs typeface="Cambria"/>
              </a:defRPr>
            </a:lvl4pPr>
            <a:lvl5pPr marL="18288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Cambria"/>
                <a:cs typeface="Cambria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03680" y="2127475"/>
            <a:ext cx="4092120" cy="2330227"/>
          </a:xfrm>
          <a:prstGeom prst="rect">
            <a:avLst/>
          </a:prstGeom>
        </p:spPr>
        <p:txBody>
          <a:bodyPr vert="horz"/>
          <a:lstStyle>
            <a:lvl1pPr marL="3657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800">
                <a:latin typeface="Cambria"/>
                <a:cs typeface="Cambria"/>
              </a:defRPr>
            </a:lvl1pPr>
            <a:lvl2pPr marL="77724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800">
                <a:latin typeface="Cambria"/>
                <a:cs typeface="Cambria"/>
              </a:defRPr>
            </a:lvl2pPr>
            <a:lvl3pPr marL="109728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Cambria"/>
                <a:cs typeface="Cambria"/>
              </a:defRPr>
            </a:lvl3pPr>
            <a:lvl4pPr marL="146304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>
                <a:latin typeface="Cambria"/>
                <a:cs typeface="Cambria"/>
              </a:defRPr>
            </a:lvl4pPr>
            <a:lvl5pPr marL="18288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Cambria"/>
                <a:cs typeface="Cambria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480" y="308610"/>
            <a:ext cx="6858000" cy="6858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 Black"/>
                <a:cs typeface="Arial Black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411480" y="1314450"/>
            <a:ext cx="4084320" cy="6858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/>
                <a:cs typeface="Cambria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4648200" y="1314450"/>
            <a:ext cx="4084320" cy="6858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/>
                <a:cs typeface="Cambria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D07BF3F-ADAA-47F1-B360-CCEDA2747572}"/>
              </a:ext>
            </a:extLst>
          </p:cNvPr>
          <p:cNvSpPr>
            <a:spLocks noGrp="1"/>
          </p:cNvSpPr>
          <p:nvPr>
            <p:ph type="dt" sz="half" idx="21"/>
          </p:nvPr>
        </p:nvSpPr>
        <p:spPr>
          <a:xfrm>
            <a:off x="411163" y="4781550"/>
            <a:ext cx="1143000" cy="138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8DD15B-2580-45FA-B584-3BC6C4A6DB13}" type="datetime4">
              <a:rPr lang="en-US"/>
              <a:pPr>
                <a:defRPr/>
              </a:pPr>
              <a:t>April 10, 2019</a:t>
            </a:fld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F7318F-6A28-4571-B56A-90E43227268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8561388" y="4781550"/>
            <a:ext cx="228600" cy="138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7172AA-7B37-4843-9734-2C3BEE06242A}" type="slidenum">
              <a:rPr lang="en-US" altLang="de-DE"/>
              <a:pPr>
                <a:defRPr/>
              </a:pPr>
              <a:t>‹#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90240083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480" y="308610"/>
            <a:ext cx="6858000" cy="6858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 Black"/>
                <a:cs typeface="Arial Black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5E9FCEBE-307C-4CCF-A270-EED6DC6F0A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11163" y="4781550"/>
            <a:ext cx="1143000" cy="138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77642A-FA72-4CEC-8C5B-A017A8BA7918}" type="datetime4">
              <a:rPr lang="en-US"/>
              <a:pPr>
                <a:defRPr/>
              </a:pPr>
              <a:t>April 10, 2019</a:t>
            </a:fld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580AAB2-B127-4F67-A116-DAE79C82996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61388" y="4781550"/>
            <a:ext cx="228600" cy="138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357445-BDB7-45E6-93C5-FBF68C8843D9}" type="slidenum">
              <a:rPr lang="en-US" altLang="de-DE"/>
              <a:pPr>
                <a:defRPr/>
              </a:pPr>
              <a:t>‹#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1274885130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4E324EDC-9B8F-47BC-923C-F3C433C6A01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11163" y="4781550"/>
            <a:ext cx="1143000" cy="138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D3FA6B-76E7-43AC-8E8A-D25C1576D695}" type="datetime4">
              <a:rPr lang="en-US"/>
              <a:pPr>
                <a:defRPr/>
              </a:pPr>
              <a:t>April 10, 2019</a:t>
            </a:fld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CD58DD1-A5F9-4135-99D4-5BB3722BDF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61388" y="4781550"/>
            <a:ext cx="228600" cy="1381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FF904F-4E3C-4C17-AC50-D5FCF4800C3F}" type="slidenum">
              <a:rPr lang="en-US" altLang="de-DE"/>
              <a:pPr>
                <a:defRPr/>
              </a:pPr>
              <a:t>‹#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362692117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1814" y="261937"/>
            <a:ext cx="8072437" cy="455036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09626" y="893619"/>
            <a:ext cx="7794625" cy="376767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D55F4F-0BED-476B-A82D-3A0CE83634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2AD74E01-E806-4D49-811A-361283101C8C}" type="slidenum">
              <a:rPr lang="en-GB" altLang="de-DE"/>
              <a:pPr>
                <a:defRPr/>
              </a:pPr>
              <a:t>‹#›</a:t>
            </a:fld>
            <a:endParaRPr lang="en-GB" altLang="de-DE" dirty="0"/>
          </a:p>
        </p:txBody>
      </p:sp>
    </p:spTree>
    <p:extLst>
      <p:ext uri="{BB962C8B-B14F-4D97-AF65-F5344CB8AC3E}">
        <p14:creationId xmlns:p14="http://schemas.microsoft.com/office/powerpoint/2010/main" val="940670811"/>
      </p:ext>
    </p:extLst>
  </p:cSld>
  <p:clrMapOvr>
    <a:masterClrMapping/>
  </p:clrMapOvr>
  <p:hf hdr="0" ftr="0" dt="0"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stryker_title_slide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1" y="2242566"/>
            <a:ext cx="2501733" cy="130073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r">
              <a:lnSpc>
                <a:spcPct val="110000"/>
              </a:lnSpc>
              <a:spcAft>
                <a:spcPts val="0"/>
              </a:spcAft>
              <a:buNone/>
              <a:defRPr sz="2100" b="0"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722314" y="570976"/>
            <a:ext cx="4837112" cy="1552808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tx1"/>
                </a:solidFill>
                <a:latin typeface="Rockwell" panose="02060603020205020403" pitchFamily="18" charset="0"/>
                <a:ea typeface="Rockwell" panose="02060603020205020403" pitchFamily="18" charset="0"/>
                <a:cs typeface="Rockwell" panose="02060603020205020403" pitchFamily="18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4" y="2133912"/>
            <a:ext cx="4837112" cy="65754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1"/>
            <a:ext cx="914400" cy="231580"/>
          </a:xfrm>
          <a:prstGeom prst="rect">
            <a:avLst/>
          </a:prstGeom>
        </p:spPr>
      </p:pic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7454734" y="4607846"/>
            <a:ext cx="1143000" cy="153888"/>
          </a:xfrm>
        </p:spPr>
        <p:txBody>
          <a:bodyPr/>
          <a:lstStyle>
            <a:lvl1pPr algn="r">
              <a:defRPr sz="1000"/>
            </a:lvl1pPr>
          </a:lstStyle>
          <a:p>
            <a:r>
              <a:rPr lang="en-US" dirty="0"/>
              <a:t>June 2018</a:t>
            </a:r>
          </a:p>
        </p:txBody>
      </p:sp>
    </p:spTree>
    <p:extLst>
      <p:ext uri="{BB962C8B-B14F-4D97-AF65-F5344CB8AC3E}">
        <p14:creationId xmlns:p14="http://schemas.microsoft.com/office/powerpoint/2010/main" val="86326538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stryker_title_slide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22376" y="3086100"/>
            <a:ext cx="4840224" cy="130073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2100" b="0"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tex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1"/>
            <a:ext cx="914400" cy="231580"/>
          </a:xfrm>
          <a:prstGeom prst="rect">
            <a:avLst/>
          </a:prstGeom>
        </p:spPr>
      </p:pic>
      <p:sp>
        <p:nvSpPr>
          <p:cNvPr id="9" name="Date Placeholder 9"/>
          <p:cNvSpPr>
            <a:spLocks noGrp="1"/>
          </p:cNvSpPr>
          <p:nvPr>
            <p:ph type="dt" sz="half" idx="2"/>
          </p:nvPr>
        </p:nvSpPr>
        <p:spPr>
          <a:xfrm>
            <a:off x="7454734" y="4607846"/>
            <a:ext cx="1143000" cy="153888"/>
          </a:xfrm>
        </p:spPr>
        <p:txBody>
          <a:bodyPr/>
          <a:lstStyle>
            <a:lvl1pPr algn="r">
              <a:defRPr sz="1000"/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722314" y="570976"/>
            <a:ext cx="4837112" cy="1552808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tx1"/>
                </a:solidFill>
                <a:latin typeface="Rockwell" panose="02060603020205020403" pitchFamily="18" charset="0"/>
                <a:ea typeface="Rockwell" panose="02060603020205020403" pitchFamily="18" charset="0"/>
                <a:cs typeface="Rockwell" panose="02060603020205020403" pitchFamily="18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4" y="2133912"/>
            <a:ext cx="4837112" cy="65754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45709982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or Content Highligh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1480" y="631598"/>
            <a:ext cx="6172200" cy="158555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5400">
                <a:solidFill>
                  <a:schemeClr val="bg2"/>
                </a:solidFill>
                <a:latin typeface="Rockwell" panose="02060603020205020403" pitchFamily="18" charset="0"/>
                <a:cs typeface="Rockwell" panose="02060603020205020403" pitchFamily="18" charset="0"/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11163" y="4910366"/>
            <a:ext cx="1143000" cy="1384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11163" y="2434592"/>
            <a:ext cx="6172200" cy="141192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100">
                <a:solidFill>
                  <a:schemeClr val="tx1"/>
                </a:solidFill>
                <a:latin typeface="+mj-lt"/>
                <a:ea typeface="Futura For Stryker" charset="0"/>
                <a:cs typeface="Futura For Stryker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00261806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stryker_title_slide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1" y="2242566"/>
            <a:ext cx="2501733" cy="130073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r">
              <a:lnSpc>
                <a:spcPct val="110000"/>
              </a:lnSpc>
              <a:spcAft>
                <a:spcPts val="0"/>
              </a:spcAft>
              <a:buNone/>
              <a:defRPr sz="2100" b="0"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722314" y="570976"/>
            <a:ext cx="4837112" cy="1552808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tx1"/>
                </a:solidFill>
                <a:latin typeface="Rockwell" panose="02060603020205020403" pitchFamily="18" charset="0"/>
                <a:ea typeface="Rockwell" panose="02060603020205020403" pitchFamily="18" charset="0"/>
                <a:cs typeface="Rockwell" panose="02060603020205020403" pitchFamily="18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4" y="2133911"/>
            <a:ext cx="4837112" cy="65754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1"/>
            <a:ext cx="914400" cy="231580"/>
          </a:xfrm>
          <a:prstGeom prst="rect">
            <a:avLst/>
          </a:prstGeom>
        </p:spPr>
      </p:pic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7454734" y="4607846"/>
            <a:ext cx="1143000" cy="153888"/>
          </a:xfrm>
        </p:spPr>
        <p:txBody>
          <a:bodyPr/>
          <a:lstStyle>
            <a:lvl1pPr algn="r">
              <a:defRPr sz="1000"/>
            </a:lvl1pPr>
          </a:lstStyle>
          <a:p>
            <a:r>
              <a:rPr lang="en-US" dirty="0"/>
              <a:t>June 2018</a:t>
            </a:r>
          </a:p>
        </p:txBody>
      </p:sp>
    </p:spTree>
    <p:extLst>
      <p:ext uri="{BB962C8B-B14F-4D97-AF65-F5344CB8AC3E}">
        <p14:creationId xmlns:p14="http://schemas.microsoft.com/office/powerpoint/2010/main" val="17016168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ulleted List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October 10, 2017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2193741"/>
            <a:ext cx="4084637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3741"/>
            <a:ext cx="4084320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245170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or Content Highligh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1480" y="631597"/>
            <a:ext cx="6172200" cy="158555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5400">
                <a:solidFill>
                  <a:schemeClr val="bg2"/>
                </a:solidFill>
                <a:latin typeface="Rockwell" panose="02060603020205020403" pitchFamily="18" charset="0"/>
                <a:cs typeface="Rockwell" panose="02060603020205020403" pitchFamily="18" charset="0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11163" y="2434591"/>
            <a:ext cx="6172200" cy="141192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100">
                <a:solidFill>
                  <a:schemeClr val="tx1"/>
                </a:solidFill>
                <a:latin typeface="+mj-lt"/>
                <a:ea typeface="Futura For Stryker" charset="0"/>
                <a:cs typeface="Futura For Stryker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21835632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or Content Highligh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557188" y="2605306"/>
            <a:ext cx="3139200" cy="1546860"/>
          </a:xfrm>
          <a:prstGeom prst="rect">
            <a:avLst/>
          </a:prstGeom>
        </p:spPr>
        <p:txBody>
          <a:bodyPr tIns="182880" anchor="b" anchorCtr="0"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8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557188" y="4289326"/>
            <a:ext cx="3139200" cy="35052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ts val="19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537270" y="2605306"/>
            <a:ext cx="4771390" cy="1546622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r">
              <a:buFontTx/>
              <a:buNone/>
              <a:defRPr sz="4000">
                <a:solidFill>
                  <a:schemeClr val="bg2"/>
                </a:solidFill>
                <a:latin typeface="Rockwell" panose="02060603020205020403" pitchFamily="18" charset="0"/>
                <a:ea typeface="Rockwell" panose="02060603020205020403" pitchFamily="18" charset="0"/>
                <a:cs typeface="Rockwell" panose="02060603020205020403" pitchFamily="18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6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1"/>
            <a:ext cx="914400" cy="231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19407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or Content Highlight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890357" y="1913319"/>
            <a:ext cx="3819280" cy="2286000"/>
          </a:xfrm>
          <a:prstGeom prst="rect">
            <a:avLst/>
          </a:prstGeom>
        </p:spPr>
        <p:txBody>
          <a:bodyPr tIns="182880" anchor="b" anchorCtr="0"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890357" y="4435541"/>
            <a:ext cx="3819280" cy="2892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ts val="19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831001" y="1912843"/>
            <a:ext cx="2725737" cy="2286000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r">
              <a:buFontTx/>
              <a:buNone/>
              <a:defRPr sz="4000">
                <a:solidFill>
                  <a:schemeClr val="bg1"/>
                </a:solidFill>
                <a:latin typeface="Rockwell" panose="02060603020205020403" pitchFamily="18" charset="0"/>
                <a:ea typeface="Rockwell" panose="02060603020205020403" pitchFamily="18" charset="0"/>
                <a:cs typeface="Rockwell" panose="02060603020205020403" pitchFamily="18" charset="0"/>
              </a:defRPr>
            </a:lvl1pPr>
            <a:lvl2pPr marL="228588" indent="0" algn="r">
              <a:buFontTx/>
              <a:buNone/>
              <a:defRPr/>
            </a:lvl2pPr>
            <a:lvl3pPr marL="457178" indent="0" algn="r">
              <a:buFontTx/>
              <a:buNone/>
              <a:defRPr/>
            </a:lvl3pPr>
            <a:lvl4pPr marL="685766" indent="0" algn="r">
              <a:buFontTx/>
              <a:buNone/>
              <a:defRPr/>
            </a:lvl4pPr>
            <a:lvl5pPr marL="914355" indent="0" algn="r">
              <a:buFontTx/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6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1"/>
            <a:ext cx="914400" cy="231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45444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with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6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5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228588" algn="l">
              <a:lnSpc>
                <a:spcPct val="120000"/>
              </a:lnSpc>
              <a:spcAft>
                <a:spcPts val="600"/>
              </a:spcAft>
              <a:defRPr/>
            </a:lvl2pPr>
            <a:lvl3pPr marL="457178" indent="-228588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66" indent="-228588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55" indent="-228588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44" indent="-228588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32" indent="-228588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2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09" indent="-228588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80533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with bulleted list and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6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5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228588" algn="l">
              <a:lnSpc>
                <a:spcPct val="120000"/>
              </a:lnSpc>
              <a:spcAft>
                <a:spcPts val="600"/>
              </a:spcAft>
              <a:defRPr/>
            </a:lvl2pPr>
            <a:lvl3pPr marL="457178" indent="-228588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66" indent="-228588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55" indent="-228588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44" indent="-228588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32" indent="-228588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2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09" indent="-228588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87315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paragraph with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6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5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588" algn="l">
              <a:lnSpc>
                <a:spcPct val="120000"/>
              </a:lnSpc>
              <a:spcAft>
                <a:spcPts val="600"/>
              </a:spcAft>
              <a:defRPr/>
            </a:lvl2pPr>
            <a:lvl3pPr marL="457178" indent="-228588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66" indent="-228588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55" indent="-228588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44" indent="-228588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32" indent="-228588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2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09" indent="-228588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40497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paragraph with bulleted list and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6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5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588" algn="l">
              <a:lnSpc>
                <a:spcPct val="120000"/>
              </a:lnSpc>
              <a:spcAft>
                <a:spcPts val="600"/>
              </a:spcAft>
              <a:defRPr/>
            </a:lvl2pPr>
            <a:lvl3pPr marL="457178" indent="-228588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66" indent="-228588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55" indent="-228588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44" indent="-228588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32" indent="-228588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2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09" indent="-228588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2360653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6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5" y="1363600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342884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472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060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649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238" indent="-342884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826" indent="-342884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415" indent="-342884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003" indent="-342884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46387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 with header and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6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5" y="1363600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342884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472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060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649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238" indent="-342884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826" indent="-342884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415" indent="-342884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003" indent="-342884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70619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6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5" y="1363600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884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472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060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649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238" indent="-342884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826" indent="-342884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415" indent="-342884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003" indent="-342884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61909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October 10, 2017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2191999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1999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130998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6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5" y="1363600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884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472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060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649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238" indent="-342884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826" indent="-342884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415" indent="-342884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003" indent="-342884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245038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asic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6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5" y="2199798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588" algn="l">
              <a:lnSpc>
                <a:spcPct val="120000"/>
              </a:lnSpc>
              <a:spcAft>
                <a:spcPts val="600"/>
              </a:spcAft>
              <a:defRPr/>
            </a:lvl2pPr>
            <a:lvl3pPr marL="457178" indent="-228588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66" indent="-228588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55" indent="-228588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44" indent="-228588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32" indent="-228588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2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09" indent="-228588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2" y="2199798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588" algn="l">
              <a:lnSpc>
                <a:spcPct val="120000"/>
              </a:lnSpc>
              <a:spcAft>
                <a:spcPts val="600"/>
              </a:spcAft>
              <a:defRPr/>
            </a:lvl2pPr>
            <a:lvl3pPr marL="457178" indent="-228588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66" indent="-228588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55" indent="-228588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44" indent="-228588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32" indent="-228588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2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09" indent="-228588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5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58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1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359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01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5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30" indent="-36574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355" indent="-301738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096" indent="-301738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838" indent="-301738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28960121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asic Paragraph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6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5" y="2199798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588" algn="l">
              <a:lnSpc>
                <a:spcPct val="120000"/>
              </a:lnSpc>
              <a:spcAft>
                <a:spcPts val="600"/>
              </a:spcAft>
              <a:defRPr/>
            </a:lvl2pPr>
            <a:lvl3pPr marL="457178" indent="-228588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66" indent="-228588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55" indent="-228588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44" indent="-228588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32" indent="-228588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2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09" indent="-228588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2" y="2199798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588" algn="l">
              <a:lnSpc>
                <a:spcPct val="120000"/>
              </a:lnSpc>
              <a:spcAft>
                <a:spcPts val="600"/>
              </a:spcAft>
              <a:defRPr/>
            </a:lvl2pPr>
            <a:lvl3pPr marL="457178" indent="-228588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66" indent="-228588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55" indent="-228588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44" indent="-228588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32" indent="-228588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2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09" indent="-228588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5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58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1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359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01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5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30" indent="-36574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355" indent="-301738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096" indent="-301738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838" indent="-301738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60186009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6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5" y="2193743"/>
            <a:ext cx="4084637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588" algn="l">
              <a:lnSpc>
                <a:spcPct val="120000"/>
              </a:lnSpc>
              <a:spcAft>
                <a:spcPts val="600"/>
              </a:spcAft>
              <a:defRPr/>
            </a:lvl2pPr>
            <a:lvl3pPr marL="457178" indent="-228588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66" indent="-228588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55" indent="-228588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44" indent="-228588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32" indent="-228588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2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09" indent="-228588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3743"/>
            <a:ext cx="4084320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588" algn="l">
              <a:lnSpc>
                <a:spcPct val="120000"/>
              </a:lnSpc>
              <a:spcAft>
                <a:spcPts val="600"/>
              </a:spcAft>
              <a:defRPr/>
            </a:lvl2pPr>
            <a:lvl3pPr marL="457178" indent="-228588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66" indent="-228588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55" indent="-228588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44" indent="-228588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32" indent="-228588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2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09" indent="-228588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5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58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1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359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01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5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30" indent="-36574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355" indent="-301738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096" indent="-301738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838" indent="-301738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62821604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ulleted List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6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5" y="2193743"/>
            <a:ext cx="4084637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588" algn="l">
              <a:lnSpc>
                <a:spcPct val="120000"/>
              </a:lnSpc>
              <a:spcAft>
                <a:spcPts val="600"/>
              </a:spcAft>
              <a:defRPr/>
            </a:lvl2pPr>
            <a:lvl3pPr marL="457178" indent="-228588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66" indent="-228588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55" indent="-228588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44" indent="-228588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32" indent="-228588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2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09" indent="-228588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3743"/>
            <a:ext cx="4084320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588" algn="l">
              <a:lnSpc>
                <a:spcPct val="120000"/>
              </a:lnSpc>
              <a:spcAft>
                <a:spcPts val="600"/>
              </a:spcAft>
              <a:defRPr/>
            </a:lvl2pPr>
            <a:lvl3pPr marL="457178" indent="-228588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66" indent="-228588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55" indent="-228588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44" indent="-228588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32" indent="-228588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2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09" indent="-228588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5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58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1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359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01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5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30" indent="-36574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355" indent="-301738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096" indent="-301738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838" indent="-301738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859631099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6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5" y="2192001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884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472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060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649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238" indent="-342884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826" indent="-342884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415" indent="-342884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003" indent="-342884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2" y="2192001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884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472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060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649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238" indent="-342884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826" indent="-342884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415" indent="-342884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003" indent="-342884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5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58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1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359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01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5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30" indent="-36574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355" indent="-301738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096" indent="-301738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838" indent="-301738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2128743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Numbered List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6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pic>
        <p:nvPicPr>
          <p:cNvPr id="23" name="Picture 22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5" y="2192001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884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472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060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649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238" indent="-342884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826" indent="-342884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415" indent="-342884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003" indent="-342884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2" y="2192001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884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472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060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649" indent="-342884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238" indent="-342884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826" indent="-342884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415" indent="-342884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003" indent="-342884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5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58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1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359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01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5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30" indent="-36574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355" indent="-301738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096" indent="-301738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838" indent="-301738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16549826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or Content Highligh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557188" y="2605306"/>
            <a:ext cx="3139200" cy="1546860"/>
          </a:xfrm>
          <a:prstGeom prst="rect">
            <a:avLst/>
          </a:prstGeom>
        </p:spPr>
        <p:txBody>
          <a:bodyPr tIns="182880" anchor="b" anchorCtr="0"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8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557188" y="4289326"/>
            <a:ext cx="3139200" cy="35052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ts val="19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537270" y="2605306"/>
            <a:ext cx="4771390" cy="1546622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r">
              <a:buFontTx/>
              <a:buNone/>
              <a:defRPr sz="4000">
                <a:solidFill>
                  <a:schemeClr val="bg2"/>
                </a:solidFill>
                <a:latin typeface="Rockwell" panose="02060603020205020403" pitchFamily="18" charset="0"/>
                <a:ea typeface="Rockwell" panose="02060603020205020403" pitchFamily="18" charset="0"/>
                <a:cs typeface="Rockwell" panose="02060603020205020403" pitchFamily="18" charset="0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1"/>
            <a:ext cx="914400" cy="231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33968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or Content Highlight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890357" y="1913319"/>
            <a:ext cx="3819280" cy="2286000"/>
          </a:xfrm>
          <a:prstGeom prst="rect">
            <a:avLst/>
          </a:prstGeom>
        </p:spPr>
        <p:txBody>
          <a:bodyPr tIns="182880" anchor="b" anchorCtr="0"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890357" y="4435540"/>
            <a:ext cx="3819280" cy="2892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ts val="19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831001" y="1912843"/>
            <a:ext cx="2725737" cy="2286000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r">
              <a:buFontTx/>
              <a:buNone/>
              <a:defRPr sz="4000">
                <a:solidFill>
                  <a:schemeClr val="bg1"/>
                </a:solidFill>
                <a:latin typeface="Rockwell" panose="02060603020205020403" pitchFamily="18" charset="0"/>
                <a:ea typeface="Rockwell" panose="02060603020205020403" pitchFamily="18" charset="0"/>
                <a:cs typeface="Rockwell" panose="02060603020205020403" pitchFamily="18" charset="0"/>
              </a:defRPr>
            </a:lvl1pPr>
            <a:lvl2pPr marL="228594" indent="0" algn="r">
              <a:buFontTx/>
              <a:buNone/>
              <a:defRPr/>
            </a:lvl2pPr>
            <a:lvl3pPr marL="457189" indent="0" algn="r">
              <a:buFontTx/>
              <a:buNone/>
              <a:defRPr/>
            </a:lvl3pPr>
            <a:lvl4pPr marL="685783" indent="0" algn="r">
              <a:buFontTx/>
              <a:buNone/>
              <a:defRPr/>
            </a:lvl4pPr>
            <a:lvl5pPr marL="914378" indent="0" algn="r">
              <a:buFontTx/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1"/>
            <a:ext cx="914400" cy="231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258907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with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228594" algn="l">
              <a:lnSpc>
                <a:spcPct val="120000"/>
              </a:lnSpc>
              <a:spcAft>
                <a:spcPts val="600"/>
              </a:spcAft>
              <a:defRPr/>
            </a:lvl2pPr>
            <a:lvl3pPr marL="457189" indent="-228594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83" indent="-228594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78" indent="-228594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72" indent="-228594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66" indent="-228594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6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54" indent="-228594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5354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stryker_title_slide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22376" y="3086100"/>
            <a:ext cx="4840224" cy="130073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2100" b="0"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0"/>
            <a:ext cx="914400" cy="231580"/>
          </a:xfrm>
          <a:prstGeom prst="rect">
            <a:avLst/>
          </a:prstGeom>
        </p:spPr>
      </p:pic>
      <p:sp>
        <p:nvSpPr>
          <p:cNvPr id="9" name="Date Placeholder 9"/>
          <p:cNvSpPr>
            <a:spLocks noGrp="1"/>
          </p:cNvSpPr>
          <p:nvPr>
            <p:ph type="dt" sz="half" idx="2"/>
          </p:nvPr>
        </p:nvSpPr>
        <p:spPr>
          <a:xfrm>
            <a:off x="7454734" y="4607846"/>
            <a:ext cx="1143000" cy="153888"/>
          </a:xfrm>
        </p:spPr>
        <p:txBody>
          <a:bodyPr/>
          <a:lstStyle>
            <a:lvl1pPr algn="r">
              <a:defRPr sz="1000"/>
            </a:lvl1pPr>
          </a:lstStyle>
          <a:p>
            <a:r>
              <a:rPr lang="en-US" dirty="0"/>
              <a:t>October 10, 2017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3" y="2133910"/>
            <a:ext cx="4837112" cy="65754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2" y="570975"/>
            <a:ext cx="4837113" cy="1552808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defRPr sz="4400">
                <a:latin typeface="Rockwell" charset="0"/>
                <a:ea typeface="Rockwell" charset="0"/>
                <a:cs typeface="Rockwel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1300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Numbered List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October 10, 2017</a:t>
            </a:r>
          </a:p>
        </p:txBody>
      </p:sp>
      <p:pic>
        <p:nvPicPr>
          <p:cNvPr id="23" name="Picture 22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2191999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1999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263144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with bulleted list and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228594" algn="l">
              <a:lnSpc>
                <a:spcPct val="120000"/>
              </a:lnSpc>
              <a:spcAft>
                <a:spcPts val="600"/>
              </a:spcAft>
              <a:defRPr/>
            </a:lvl2pPr>
            <a:lvl3pPr marL="457189" indent="-228594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83" indent="-228594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78" indent="-228594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72" indent="-228594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66" indent="-228594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6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54" indent="-228594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70479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al paragraph with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594" algn="l">
              <a:lnSpc>
                <a:spcPct val="120000"/>
              </a:lnSpc>
              <a:spcAft>
                <a:spcPts val="600"/>
              </a:spcAft>
              <a:defRPr/>
            </a:lvl2pPr>
            <a:lvl3pPr marL="457189" indent="-228594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83" indent="-228594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78" indent="-228594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72" indent="-228594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66" indent="-228594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6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54" indent="-228594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762710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al paragraph with bulleted list and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594" algn="l">
              <a:lnSpc>
                <a:spcPct val="120000"/>
              </a:lnSpc>
              <a:spcAft>
                <a:spcPts val="600"/>
              </a:spcAft>
              <a:defRPr/>
            </a:lvl2pPr>
            <a:lvl3pPr marL="457189" indent="-228594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83" indent="-228594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78" indent="-228594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72" indent="-228594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66" indent="-228594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6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54" indent="-228594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 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28606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mbered Lis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1363599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342892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486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080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675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269" indent="-342892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863" indent="-342892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457" indent="-342892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051" indent="-342892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3189784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mbered List with header and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1363599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342892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486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080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675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269" indent="-342892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863" indent="-342892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457" indent="-342892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051" indent="-342892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831394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1363599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892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486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080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675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269" indent="-342892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863" indent="-342892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457" indent="-342892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051" indent="-342892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7385270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mbered List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1363599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892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486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080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675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269" indent="-342892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863" indent="-342892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457" indent="-342892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051" indent="-342892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653005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uble Basic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2199798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594" algn="l">
              <a:lnSpc>
                <a:spcPct val="120000"/>
              </a:lnSpc>
              <a:spcAft>
                <a:spcPts val="600"/>
              </a:spcAft>
              <a:defRPr/>
            </a:lvl2pPr>
            <a:lvl3pPr marL="457189" indent="-228594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83" indent="-228594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78" indent="-228594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72" indent="-228594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66" indent="-228594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6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54" indent="-228594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1" y="2199798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594" algn="l">
              <a:lnSpc>
                <a:spcPct val="120000"/>
              </a:lnSpc>
              <a:spcAft>
                <a:spcPts val="600"/>
              </a:spcAft>
              <a:defRPr/>
            </a:lvl2pPr>
            <a:lvl3pPr marL="457189" indent="-228594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83" indent="-228594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78" indent="-228594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72" indent="-228594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66" indent="-228594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6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54" indent="-228594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4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594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33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383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34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4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45" indent="-365751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378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28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879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07737053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uble Basic Paragraph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2199798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594" algn="l">
              <a:lnSpc>
                <a:spcPct val="120000"/>
              </a:lnSpc>
              <a:spcAft>
                <a:spcPts val="600"/>
              </a:spcAft>
              <a:defRPr/>
            </a:lvl2pPr>
            <a:lvl3pPr marL="457189" indent="-228594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83" indent="-228594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78" indent="-228594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72" indent="-228594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66" indent="-228594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6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54" indent="-228594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1" y="2199798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594" algn="l">
              <a:lnSpc>
                <a:spcPct val="120000"/>
              </a:lnSpc>
              <a:spcAft>
                <a:spcPts val="600"/>
              </a:spcAft>
              <a:defRPr/>
            </a:lvl2pPr>
            <a:lvl3pPr marL="457189" indent="-228594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83" indent="-228594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78" indent="-228594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72" indent="-228594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66" indent="-228594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6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54" indent="-228594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4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594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33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383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34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4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45" indent="-365751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378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28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879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41102986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uble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2193742"/>
            <a:ext cx="4084637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594" algn="l">
              <a:lnSpc>
                <a:spcPct val="120000"/>
              </a:lnSpc>
              <a:spcAft>
                <a:spcPts val="600"/>
              </a:spcAft>
              <a:defRPr/>
            </a:lvl2pPr>
            <a:lvl3pPr marL="457189" indent="-228594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83" indent="-228594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78" indent="-228594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72" indent="-228594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66" indent="-228594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6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54" indent="-228594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3742"/>
            <a:ext cx="4084320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594" algn="l">
              <a:lnSpc>
                <a:spcPct val="120000"/>
              </a:lnSpc>
              <a:spcAft>
                <a:spcPts val="600"/>
              </a:spcAft>
              <a:defRPr/>
            </a:lvl2pPr>
            <a:lvl3pPr marL="457189" indent="-228594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83" indent="-228594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78" indent="-228594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72" indent="-228594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66" indent="-228594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6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54" indent="-228594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4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594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33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383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34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4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45" indent="-365751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378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28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879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2548219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October 10, 2017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453075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uble Bulleted List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2193742"/>
            <a:ext cx="4084637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594" algn="l">
              <a:lnSpc>
                <a:spcPct val="120000"/>
              </a:lnSpc>
              <a:spcAft>
                <a:spcPts val="600"/>
              </a:spcAft>
              <a:defRPr/>
            </a:lvl2pPr>
            <a:lvl3pPr marL="457189" indent="-228594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83" indent="-228594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78" indent="-228594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72" indent="-228594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66" indent="-228594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6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54" indent="-228594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3742"/>
            <a:ext cx="4084320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594" algn="l">
              <a:lnSpc>
                <a:spcPct val="120000"/>
              </a:lnSpc>
              <a:spcAft>
                <a:spcPts val="600"/>
              </a:spcAft>
              <a:defRPr/>
            </a:lvl2pPr>
            <a:lvl3pPr marL="457189" indent="-228594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783" indent="-228594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378" indent="-228594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2972" indent="-228594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566" indent="-228594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16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754" indent="-228594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4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594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33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383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34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4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45" indent="-365751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378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28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879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964948146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uble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2192000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892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486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080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675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269" indent="-342892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863" indent="-342892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457" indent="-342892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051" indent="-342892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1" y="2192000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892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486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080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675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269" indent="-342892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863" indent="-342892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457" indent="-342892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051" indent="-342892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4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594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33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383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34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4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45" indent="-365751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378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28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879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22930850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uble Numbered List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pic>
        <p:nvPicPr>
          <p:cNvPr id="23" name="Picture 22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4" y="2192000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892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486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080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675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269" indent="-342892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863" indent="-342892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457" indent="-342892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051" indent="-342892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1" y="2192000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892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486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080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675" indent="-342892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269" indent="-342892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863" indent="-342892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457" indent="-342892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051" indent="-342892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4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594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33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383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34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4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45" indent="-365751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378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28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879" indent="-301745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99210228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tit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15059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</p:spTree>
    <p:extLst>
      <p:ext uri="{BB962C8B-B14F-4D97-AF65-F5344CB8AC3E}">
        <p14:creationId xmlns:p14="http://schemas.microsoft.com/office/powerpoint/2010/main" val="3568309149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08610"/>
            <a:ext cx="6858000" cy="6858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Futura Std Bold"/>
                <a:cs typeface="Futura Std Bold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14450"/>
            <a:ext cx="8351520" cy="3086100"/>
          </a:xfrm>
          <a:prstGeom prst="rect">
            <a:avLst/>
          </a:prstGeom>
        </p:spPr>
        <p:txBody>
          <a:bodyPr vert="horz"/>
          <a:lstStyle>
            <a:lvl1pPr marL="192020" indent="-192020" algn="l">
              <a:lnSpc>
                <a:spcPct val="120000"/>
              </a:lnSpc>
              <a:spcAft>
                <a:spcPts val="450"/>
              </a:spcAft>
              <a:buFont typeface="Arial"/>
              <a:buChar char="•"/>
              <a:defRPr sz="1350" b="0">
                <a:latin typeface="HumstSlab712 BT Roman"/>
                <a:cs typeface="HumstSlab712 BT Roman"/>
              </a:defRPr>
            </a:lvl1pPr>
            <a:lvl2pPr marL="342892" indent="-171446" algn="l">
              <a:lnSpc>
                <a:spcPct val="120000"/>
              </a:lnSpc>
              <a:spcAft>
                <a:spcPts val="450"/>
              </a:spcAft>
              <a:buFont typeface="Courier New"/>
              <a:buChar char="o"/>
              <a:defRPr sz="1350">
                <a:latin typeface="HumstSlab712 BT Roman"/>
                <a:cs typeface="HumstSlab712 BT Roman"/>
              </a:defRPr>
            </a:lvl2pPr>
            <a:lvl3pPr marL="514337" indent="-171446" algn="l">
              <a:lnSpc>
                <a:spcPct val="120000"/>
              </a:lnSpc>
              <a:spcAft>
                <a:spcPts val="450"/>
              </a:spcAft>
              <a:buFont typeface="Lucida Grande"/>
              <a:buChar char="-"/>
              <a:defRPr sz="1200">
                <a:latin typeface="HumstSlab712 BT Roman"/>
                <a:cs typeface="HumstSlab712 BT Roman"/>
              </a:defRPr>
            </a:lvl3pPr>
            <a:lvl4pPr algn="l">
              <a:lnSpc>
                <a:spcPct val="120000"/>
              </a:lnSpc>
              <a:spcAft>
                <a:spcPts val="450"/>
              </a:spcAft>
              <a:defRPr sz="1200">
                <a:latin typeface="HumstSlab712 BT Roman"/>
                <a:cs typeface="HumstSlab712 BT Roman"/>
              </a:defRPr>
            </a:lvl4pPr>
            <a:lvl5pPr marL="857228" indent="-171446" algn="l">
              <a:lnSpc>
                <a:spcPct val="120000"/>
              </a:lnSpc>
              <a:spcAft>
                <a:spcPts val="450"/>
              </a:spcAft>
              <a:buFont typeface="Courier New"/>
              <a:buChar char="o"/>
              <a:defRPr sz="1050">
                <a:latin typeface="HumstSlab712 BT Roman"/>
                <a:cs typeface="HumstSlab712 BT Roman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622282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p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1885950"/>
            <a:ext cx="6172200" cy="230833"/>
          </a:xfrm>
        </p:spPr>
        <p:txBody>
          <a:bodyPr/>
          <a:lstStyle>
            <a:lvl1pPr algn="l">
              <a:lnSpc>
                <a:spcPts val="1800"/>
              </a:lnSpc>
              <a:spcAft>
                <a:spcPts val="1500"/>
              </a:spcAft>
              <a:defRPr sz="1575" b="1" cap="none" baseline="0"/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480" y="610531"/>
            <a:ext cx="6172200" cy="1057982"/>
          </a:xfrm>
        </p:spPr>
        <p:txBody>
          <a:bodyPr anchor="b" anchorCtr="0"/>
          <a:lstStyle>
            <a:lvl1pPr marL="0" indent="0">
              <a:lnSpc>
                <a:spcPts val="4125"/>
              </a:lnSpc>
              <a:spcAft>
                <a:spcPts val="0"/>
              </a:spcAft>
              <a:buNone/>
              <a:defRPr sz="4050">
                <a:solidFill>
                  <a:schemeClr val="tx1"/>
                </a:solidFill>
                <a:latin typeface="Rockwell" pitchFamily="18" charset="0"/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BEB5B3-622A-4D78-BABB-6418325A23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05CE2B-2817-4308-B7D7-2948FFDCA522}" type="datetime4">
              <a:rPr lang="en-US" altLang="en-US"/>
              <a:pPr>
                <a:defRPr/>
              </a:pPr>
              <a:t>April 10, 2019</a:t>
            </a:fld>
            <a:endParaRPr lang="en-US" alt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723C6D-5608-4ED8-9537-F99B6545E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resentation Title Here   |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AEDB15-A318-4B37-B69F-F71423EE17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CD233D-61F3-4E4D-917A-514DD2407611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8522242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stryker_divider_slides.jpg">
            <a:extLst>
              <a:ext uri="{FF2B5EF4-FFF2-40B4-BE49-F238E27FC236}">
                <a16:creationId xmlns:a16="http://schemas.microsoft.com/office/drawing/2014/main" id="{ACE9340F-9EC5-40EC-82C6-F2764BE720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2480" y="2148840"/>
            <a:ext cx="3505200" cy="1582741"/>
          </a:xfrm>
        </p:spPr>
        <p:txBody>
          <a:bodyPr/>
          <a:lstStyle>
            <a:lvl1pPr algn="r">
              <a:lnSpc>
                <a:spcPts val="4125"/>
              </a:lnSpc>
              <a:defRPr sz="405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4400" y="2146554"/>
            <a:ext cx="3657600" cy="1586973"/>
          </a:xfrm>
        </p:spPr>
        <p:txBody>
          <a:bodyPr anchor="t" anchorCtr="0"/>
          <a:lstStyle>
            <a:lvl1pPr marL="0" indent="0">
              <a:lnSpc>
                <a:spcPts val="4125"/>
              </a:lnSpc>
              <a:spcAft>
                <a:spcPts val="0"/>
              </a:spcAft>
              <a:buNone/>
              <a:defRPr sz="4050">
                <a:solidFill>
                  <a:schemeClr val="bg1"/>
                </a:solidFill>
                <a:latin typeface="Rockwell" pitchFamily="18" charset="0"/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3"/>
          </p:nvPr>
        </p:nvSpPr>
        <p:spPr>
          <a:xfrm>
            <a:off x="4724400" y="3943350"/>
            <a:ext cx="3657600" cy="182742"/>
          </a:xfrm>
        </p:spPr>
        <p:txBody>
          <a:bodyPr anchor="t" anchorCtr="0"/>
          <a:lstStyle>
            <a:lvl1pPr marL="0" indent="0">
              <a:lnSpc>
                <a:spcPts val="1425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+mn-lt"/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9BFF0C5D-6BE7-40BC-BFFE-7D6A298B47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155BDD-FBDA-43F6-8BD6-BF3357D9A655}" type="datetime4">
              <a:rPr lang="en-US" altLang="en-US"/>
              <a:pPr>
                <a:defRPr/>
              </a:pPr>
              <a:t>April 10, 2019</a:t>
            </a:fld>
            <a:endParaRPr lang="en-US" alt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8524FE3-B8C1-4762-9F9A-ABAF0276A78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resentation Title Here   | 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24C6FF0-6D37-46DE-95AC-4288D485DB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7141AA-80E3-4F74-92DA-4720D0BFC1BA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3785869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stryker_thank_you.jpg">
            <a:extLst>
              <a:ext uri="{FF2B5EF4-FFF2-40B4-BE49-F238E27FC236}">
                <a16:creationId xmlns:a16="http://schemas.microsoft.com/office/drawing/2014/main" id="{24624EB3-1BEC-4A5A-9975-096C04AE29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0" y="2490964"/>
            <a:ext cx="3505200" cy="1582741"/>
          </a:xfrm>
        </p:spPr>
        <p:txBody>
          <a:bodyPr anchor="b"/>
          <a:lstStyle>
            <a:lvl1pPr algn="r">
              <a:lnSpc>
                <a:spcPts val="4125"/>
              </a:lnSpc>
              <a:defRPr sz="405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A5EAAD-82E5-4FB7-97DD-BF759C234F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63C0FC-A104-4ED9-B7E4-1CB2F95DBA52}" type="datetime4">
              <a:rPr lang="en-US" altLang="en-US"/>
              <a:pPr>
                <a:defRPr/>
              </a:pPr>
              <a:t>April 10, 2019</a:t>
            </a:fld>
            <a:endParaRPr lang="en-US" alt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3C96D4-C4A1-4057-8D64-E4B3F8B5B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resentation Title Here   |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C454D1-18E7-4F4C-B941-20F4D3381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404A5E-FC8B-4135-80A4-5BCE04130F49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6877227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with bulleted list and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Dimensional Frame.png">
            <a:extLst>
              <a:ext uri="{FF2B5EF4-FFF2-40B4-BE49-F238E27FC236}">
                <a16:creationId xmlns:a16="http://schemas.microsoft.com/office/drawing/2014/main" id="{13F2CC09-4C6E-4C1B-AFF7-B38EFD7C9E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>
            <a:fillRect/>
          </a:stretch>
        </p:blipFill>
        <p:spPr bwMode="auto">
          <a:xfrm>
            <a:off x="26989" y="1158479"/>
            <a:ext cx="9107487" cy="3751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1165" y="1363600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450"/>
              </a:spcAft>
              <a:defRPr sz="1350" b="1" i="0">
                <a:latin typeface="Cambria" charset="0"/>
                <a:ea typeface="Cambria" charset="0"/>
                <a:cs typeface="Cambria" charset="0"/>
              </a:defRPr>
            </a:lvl1pPr>
            <a:lvl2pPr marL="171446" algn="l">
              <a:lnSpc>
                <a:spcPct val="120000"/>
              </a:lnSpc>
              <a:spcAft>
                <a:spcPts val="450"/>
              </a:spcAft>
              <a:defRPr/>
            </a:lvl2pPr>
            <a:lvl3pPr marL="342892" indent="-171446" algn="l">
              <a:lnSpc>
                <a:spcPct val="120000"/>
              </a:lnSpc>
              <a:spcAft>
                <a:spcPts val="450"/>
              </a:spcAft>
              <a:buFont typeface="Courier New" charset="0"/>
              <a:buChar char="o"/>
              <a:defRPr/>
            </a:lvl3pPr>
            <a:lvl4pPr marL="514337" indent="-171446" algn="l">
              <a:lnSpc>
                <a:spcPct val="120000"/>
              </a:lnSpc>
              <a:spcAft>
                <a:spcPts val="450"/>
              </a:spcAft>
              <a:buFont typeface=".AppleSystemUIFont" charset="-120"/>
              <a:buChar char="–"/>
              <a:defRPr sz="1200"/>
            </a:lvl4pPr>
            <a:lvl5pPr marL="685784" indent="-171446" algn="l">
              <a:lnSpc>
                <a:spcPct val="120000"/>
              </a:lnSpc>
              <a:spcAft>
                <a:spcPts val="450"/>
              </a:spcAft>
              <a:buFont typeface="Arial" charset="0"/>
              <a:buChar char="•"/>
              <a:defRPr sz="1200"/>
            </a:lvl5pPr>
            <a:lvl6pPr marL="857229" indent="-171446">
              <a:lnSpc>
                <a:spcPct val="120000"/>
              </a:lnSpc>
              <a:spcAft>
                <a:spcPts val="450"/>
              </a:spcAft>
              <a:buFont typeface="Courier New" charset="0"/>
              <a:buChar char="o"/>
              <a:defRPr sz="1050"/>
            </a:lvl6pPr>
            <a:lvl7pPr marL="1028675" indent="-171446">
              <a:lnSpc>
                <a:spcPct val="120000"/>
              </a:lnSpc>
              <a:spcAft>
                <a:spcPts val="450"/>
              </a:spcAft>
              <a:buFont typeface="Cambria" charset="0"/>
              <a:buChar char="–"/>
              <a:defRPr sz="1050"/>
            </a:lvl7pPr>
            <a:lvl8pPr marL="1200120">
              <a:lnSpc>
                <a:spcPct val="120000"/>
              </a:lnSpc>
              <a:spcBef>
                <a:spcPts val="0"/>
              </a:spcBef>
              <a:spcAft>
                <a:spcPts val="450"/>
              </a:spcAft>
              <a:defRPr sz="1050"/>
            </a:lvl8pPr>
            <a:lvl9pPr marL="1371566" indent="-171446">
              <a:lnSpc>
                <a:spcPct val="120000"/>
              </a:lnSpc>
              <a:buFont typeface="Courier New" charset="0"/>
              <a:buChar char="o"/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A340117-3452-4F54-A618-9260F970468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11163" y="4927997"/>
            <a:ext cx="1143000" cy="103584"/>
          </a:xfrm>
        </p:spPr>
        <p:txBody>
          <a:bodyPr anchor="ctr"/>
          <a:lstStyle>
            <a:lvl1pPr>
              <a:defRPr sz="675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pPr>
              <a:defRPr/>
            </a:pPr>
            <a:fld id="{F2258597-5B85-40A0-8503-BE6D16282814}" type="datetime4">
              <a:rPr lang="en-US"/>
              <a:pPr>
                <a:defRPr/>
              </a:pPr>
              <a:t>April 10, 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71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October 10, 2017</a:t>
            </a:r>
          </a:p>
        </p:txBody>
      </p:sp>
    </p:spTree>
    <p:extLst>
      <p:ext uri="{BB962C8B-B14F-4D97-AF65-F5344CB8AC3E}">
        <p14:creationId xmlns:p14="http://schemas.microsoft.com/office/powerpoint/2010/main" val="176761382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nimatin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F76BC5B-59E1-458E-8328-5826B4B654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7000" y="116682"/>
            <a:ext cx="1239838" cy="313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2837741-9B35-4F89-8317-0444170B4104}"/>
              </a:ext>
            </a:extLst>
          </p:cNvPr>
          <p:cNvCxnSpPr>
            <a:cxnSpLocks/>
          </p:cNvCxnSpPr>
          <p:nvPr userDrawn="1"/>
        </p:nvCxnSpPr>
        <p:spPr>
          <a:xfrm>
            <a:off x="906113" y="4822031"/>
            <a:ext cx="8080726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6249DF8-3157-4064-A529-900F056662A9}"/>
              </a:ext>
            </a:extLst>
          </p:cNvPr>
          <p:cNvSpPr txBox="1">
            <a:spLocks/>
          </p:cNvSpPr>
          <p:nvPr userDrawn="1"/>
        </p:nvSpPr>
        <p:spPr>
          <a:xfrm>
            <a:off x="8815388" y="4951584"/>
            <a:ext cx="171450" cy="7784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2"/>
                </a:solidFill>
                <a:latin typeface="HumstSlab712 BT Roman"/>
                <a:ea typeface="MS PGothic" charset="0"/>
                <a:cs typeface="HumstSlab712 BT Roman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9pPr>
          </a:lstStyle>
          <a:p>
            <a:pPr algn="r" defTabSz="514350" eaLnBrk="1" hangingPunct="1">
              <a:defRPr/>
            </a:pPr>
            <a:fld id="{ABBBCBB0-410C-47ED-BBA5-6465B251DB51}" type="slidenum">
              <a:rPr lang="en-US" sz="506" smtClean="0">
                <a:solidFill>
                  <a:srgbClr val="000000"/>
                </a:solidFill>
                <a:latin typeface="Cambria" panose="02040503050406030204" pitchFamily="18" charset="0"/>
                <a:cs typeface="Cambria Regular" charset="0"/>
              </a:rPr>
              <a:pPr algn="r" defTabSz="514350" eaLnBrk="1" hangingPunct="1">
                <a:defRPr/>
              </a:pPr>
              <a:t>‹#›</a:t>
            </a:fld>
            <a:endParaRPr lang="en-US" sz="506" dirty="0">
              <a:solidFill>
                <a:srgbClr val="000000"/>
              </a:solidFill>
              <a:latin typeface="Cambria" panose="02040503050406030204" pitchFamily="18" charset="0"/>
              <a:cs typeface="Cambria Regular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0"/>
          </p:nvPr>
        </p:nvSpPr>
        <p:spPr>
          <a:xfrm>
            <a:off x="109966" y="107859"/>
            <a:ext cx="7554151" cy="3358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8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1"/>
          </p:nvPr>
        </p:nvSpPr>
        <p:spPr>
          <a:xfrm>
            <a:off x="109966" y="444540"/>
            <a:ext cx="7554151" cy="28938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350" b="1">
                <a:solidFill>
                  <a:schemeClr val="bg2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435A71-B753-499D-AB0C-392F813A964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76773" y="4594481"/>
            <a:ext cx="982886" cy="603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7340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stryker_title_slide2.jpg">
            <a:extLst>
              <a:ext uri="{FF2B5EF4-FFF2-40B4-BE49-F238E27FC236}">
                <a16:creationId xmlns:a16="http://schemas.microsoft.com/office/drawing/2014/main" id="{7CF46A21-E609-4ED7-8D81-4A2361179F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13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FA536434-B50B-434B-AFF2-7C5D37A0F26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8438" y="320278"/>
            <a:ext cx="914400" cy="184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76" y="1645963"/>
            <a:ext cx="4840224" cy="394339"/>
          </a:xfrm>
          <a:prstGeom prst="rect">
            <a:avLst/>
          </a:prstGeom>
        </p:spPr>
        <p:txBody>
          <a:bodyPr anchor="b"/>
          <a:lstStyle>
            <a:lvl1pPr>
              <a:lnSpc>
                <a:spcPts val="3094"/>
              </a:lnSpc>
              <a:defRPr sz="2700">
                <a:latin typeface="Rockwell"/>
                <a:cs typeface="Rockwel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76" y="2171701"/>
            <a:ext cx="5073760" cy="394339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lnSpc>
                <a:spcPts val="3094"/>
              </a:lnSpc>
              <a:spcAft>
                <a:spcPts val="0"/>
              </a:spcAft>
              <a:buNone/>
              <a:defRPr sz="2700" b="0" i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724131" y="2242566"/>
            <a:ext cx="2873605" cy="189796"/>
          </a:xfrm>
          <a:prstGeom prst="rect">
            <a:avLst/>
          </a:prstGeom>
        </p:spPr>
        <p:txBody>
          <a:bodyPr anchor="t" anchorCtr="0"/>
          <a:lstStyle>
            <a:lvl1pPr marL="0" indent="0" algn="r">
              <a:lnSpc>
                <a:spcPct val="110000"/>
              </a:lnSpc>
              <a:spcAft>
                <a:spcPts val="0"/>
              </a:spcAft>
              <a:buNone/>
              <a:defRPr sz="1181" b="0" baseline="0">
                <a:latin typeface="Arial Black"/>
                <a:cs typeface="Arial Black"/>
              </a:defRPr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096001" y="4578331"/>
            <a:ext cx="2501733" cy="103874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None/>
              <a:defRPr sz="675" b="0" baseline="0">
                <a:latin typeface="Cambria"/>
                <a:cs typeface="Cambria"/>
              </a:defRPr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177762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CD8CC66-4162-4724-B6C2-424B4ED020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943725" y="4670822"/>
            <a:ext cx="2081213" cy="27699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mbria" panose="02040503050406030204" pitchFamily="18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mbria" panose="02040503050406030204" pitchFamily="18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mbria" panose="02040503050406030204" pitchFamily="18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mbria" panose="02040503050406030204" pitchFamily="18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mbria" panose="02040503050406030204" pitchFamily="18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mbria" panose="02040503050406030204" pitchFamily="18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mbria" panose="02040503050406030204" pitchFamily="18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mbria" panose="02040503050406030204" pitchFamily="18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mbria" panose="02040503050406030204" pitchFamily="18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en-IE" alt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9"/>
            <a:ext cx="7886700" cy="28854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52899918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nimatin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CF0F33-8897-45CE-9946-8B24538DE88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7000" y="116682"/>
            <a:ext cx="1239838" cy="313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551BBA8-1042-4228-8EDD-E0860D982798}"/>
              </a:ext>
            </a:extLst>
          </p:cNvPr>
          <p:cNvCxnSpPr>
            <a:cxnSpLocks/>
          </p:cNvCxnSpPr>
          <p:nvPr userDrawn="1"/>
        </p:nvCxnSpPr>
        <p:spPr>
          <a:xfrm>
            <a:off x="138114" y="4822031"/>
            <a:ext cx="884872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51E3C30-9554-4B4D-8988-5C6059D6BFA8}"/>
              </a:ext>
            </a:extLst>
          </p:cNvPr>
          <p:cNvSpPr txBox="1">
            <a:spLocks/>
          </p:cNvSpPr>
          <p:nvPr userDrawn="1"/>
        </p:nvSpPr>
        <p:spPr>
          <a:xfrm>
            <a:off x="8815388" y="4951584"/>
            <a:ext cx="171450" cy="7784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2"/>
                </a:solidFill>
                <a:latin typeface="HumstSlab712 BT Roman"/>
                <a:ea typeface="MS PGothic" charset="0"/>
                <a:cs typeface="HumstSlab712 BT Roman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9pPr>
          </a:lstStyle>
          <a:p>
            <a:pPr algn="r" defTabSz="514350" eaLnBrk="1" hangingPunct="1">
              <a:defRPr/>
            </a:pPr>
            <a:fld id="{BC235FC9-D30A-4374-9C47-DBD50A287317}" type="slidenum">
              <a:rPr lang="en-US" sz="506" smtClean="0">
                <a:solidFill>
                  <a:srgbClr val="000000"/>
                </a:solidFill>
                <a:latin typeface="Cambria" panose="02040503050406030204" pitchFamily="18" charset="0"/>
                <a:cs typeface="Cambria Regular" charset="0"/>
              </a:rPr>
              <a:pPr algn="r" defTabSz="514350" eaLnBrk="1" hangingPunct="1">
                <a:defRPr/>
              </a:pPr>
              <a:t>‹#›</a:t>
            </a:fld>
            <a:endParaRPr lang="en-US" sz="506" dirty="0">
              <a:solidFill>
                <a:srgbClr val="000000"/>
              </a:solidFill>
              <a:latin typeface="Cambria" panose="02040503050406030204" pitchFamily="18" charset="0"/>
              <a:cs typeface="Cambria Regular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0"/>
          </p:nvPr>
        </p:nvSpPr>
        <p:spPr>
          <a:xfrm>
            <a:off x="109966" y="143332"/>
            <a:ext cx="7554151" cy="3358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8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1186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nimatin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07D5583-E431-4B06-84A8-75D71E5F406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7000" y="116682"/>
            <a:ext cx="1239838" cy="313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EB49849-A1E5-4A4A-ADC3-B60E4E71D951}"/>
              </a:ext>
            </a:extLst>
          </p:cNvPr>
          <p:cNvCxnSpPr>
            <a:cxnSpLocks/>
          </p:cNvCxnSpPr>
          <p:nvPr userDrawn="1"/>
        </p:nvCxnSpPr>
        <p:spPr>
          <a:xfrm>
            <a:off x="138114" y="4822031"/>
            <a:ext cx="884872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A5BB214-4B79-4DE8-88D3-9D0529620A94}"/>
              </a:ext>
            </a:extLst>
          </p:cNvPr>
          <p:cNvSpPr txBox="1">
            <a:spLocks/>
          </p:cNvSpPr>
          <p:nvPr userDrawn="1"/>
        </p:nvSpPr>
        <p:spPr>
          <a:xfrm>
            <a:off x="8815388" y="4951584"/>
            <a:ext cx="171450" cy="7784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2"/>
                </a:solidFill>
                <a:latin typeface="HumstSlab712 BT Roman"/>
                <a:ea typeface="MS PGothic" charset="0"/>
                <a:cs typeface="HumstSlab712 BT Roman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9pPr>
          </a:lstStyle>
          <a:p>
            <a:pPr algn="r" defTabSz="514350" eaLnBrk="1" hangingPunct="1">
              <a:defRPr/>
            </a:pPr>
            <a:fld id="{2F2FDA53-72B9-4383-A1D4-5AFC6D84F398}" type="slidenum">
              <a:rPr lang="en-US" sz="506" smtClean="0">
                <a:solidFill>
                  <a:srgbClr val="000000"/>
                </a:solidFill>
                <a:latin typeface="Cambria" panose="02040503050406030204" pitchFamily="18" charset="0"/>
                <a:cs typeface="Cambria Regular" charset="0"/>
              </a:rPr>
              <a:pPr algn="r" defTabSz="514350" eaLnBrk="1" hangingPunct="1">
                <a:defRPr/>
              </a:pPr>
              <a:t>‹#›</a:t>
            </a:fld>
            <a:endParaRPr lang="en-US" sz="506" dirty="0">
              <a:solidFill>
                <a:srgbClr val="000000"/>
              </a:solidFill>
              <a:latin typeface="Cambria" panose="02040503050406030204" pitchFamily="18" charset="0"/>
              <a:cs typeface="Cambria Regular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0"/>
          </p:nvPr>
        </p:nvSpPr>
        <p:spPr>
          <a:xfrm>
            <a:off x="109966" y="162411"/>
            <a:ext cx="7554151" cy="3358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8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535692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Animatin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3BE078A-2DE4-40B1-9E84-7C1EAE4501E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7000" y="116682"/>
            <a:ext cx="1239838" cy="313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A27F0E5-540D-4938-836E-8DDD3D273D3A}"/>
              </a:ext>
            </a:extLst>
          </p:cNvPr>
          <p:cNvCxnSpPr>
            <a:cxnSpLocks/>
          </p:cNvCxnSpPr>
          <p:nvPr userDrawn="1"/>
        </p:nvCxnSpPr>
        <p:spPr>
          <a:xfrm>
            <a:off x="138114" y="4822031"/>
            <a:ext cx="884872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353A2D9-04D6-4D85-AE35-5BFA1C9EE98D}"/>
              </a:ext>
            </a:extLst>
          </p:cNvPr>
          <p:cNvSpPr txBox="1">
            <a:spLocks/>
          </p:cNvSpPr>
          <p:nvPr userDrawn="1"/>
        </p:nvSpPr>
        <p:spPr>
          <a:xfrm>
            <a:off x="8815388" y="4951584"/>
            <a:ext cx="171450" cy="7784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2"/>
                </a:solidFill>
                <a:latin typeface="HumstSlab712 BT Roman"/>
                <a:ea typeface="MS PGothic" charset="0"/>
                <a:cs typeface="HumstSlab712 BT Roman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9pPr>
          </a:lstStyle>
          <a:p>
            <a:pPr algn="r" defTabSz="514350" eaLnBrk="1" hangingPunct="1">
              <a:defRPr/>
            </a:pPr>
            <a:fld id="{277B41F0-E81F-4633-878B-D2EA04085115}" type="slidenum">
              <a:rPr lang="en-US" sz="506" smtClean="0">
                <a:solidFill>
                  <a:srgbClr val="000000"/>
                </a:solidFill>
                <a:latin typeface="Cambria" panose="02040503050406030204" pitchFamily="18" charset="0"/>
                <a:cs typeface="Cambria Regular" charset="0"/>
              </a:rPr>
              <a:pPr algn="r" defTabSz="514350" eaLnBrk="1" hangingPunct="1">
                <a:defRPr/>
              </a:pPr>
              <a:t>‹#›</a:t>
            </a:fld>
            <a:endParaRPr lang="en-US" sz="506" dirty="0">
              <a:solidFill>
                <a:srgbClr val="000000"/>
              </a:solidFill>
              <a:latin typeface="Cambria" panose="02040503050406030204" pitchFamily="18" charset="0"/>
              <a:cs typeface="Cambria Regular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0"/>
          </p:nvPr>
        </p:nvSpPr>
        <p:spPr>
          <a:xfrm>
            <a:off x="109966" y="143332"/>
            <a:ext cx="7554151" cy="3358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800" b="1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5988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Title or Content Highligh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>
            <a:extLst>
              <a:ext uri="{FF2B5EF4-FFF2-40B4-BE49-F238E27FC236}">
                <a16:creationId xmlns:a16="http://schemas.microsoft.com/office/drawing/2014/main" id="{CA4119A7-F2D8-4E97-9B3A-E0A2C29FC5F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815"/>
          <a:stretch>
            <a:fillRect/>
          </a:stretch>
        </p:blipFill>
        <p:spPr bwMode="auto">
          <a:xfrm>
            <a:off x="0" y="0"/>
            <a:ext cx="9144000" cy="4587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7">
            <a:extLst>
              <a:ext uri="{FF2B5EF4-FFF2-40B4-BE49-F238E27FC236}">
                <a16:creationId xmlns:a16="http://schemas.microsoft.com/office/drawing/2014/main" id="{E90D5064-17FB-4AAA-A6D7-AB4D3346D1F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2738" y="269082"/>
            <a:ext cx="914400" cy="232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92080" y="2552700"/>
            <a:ext cx="3139200" cy="1546860"/>
          </a:xfrm>
          <a:prstGeom prst="rect">
            <a:avLst/>
          </a:prstGeom>
        </p:spPr>
        <p:txBody>
          <a:bodyPr tIns="182880" anchor="b" anchorCtr="0"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1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idx="13"/>
          </p:nvPr>
        </p:nvSpPr>
        <p:spPr>
          <a:xfrm>
            <a:off x="5792080" y="4236720"/>
            <a:ext cx="3139200" cy="35052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ts val="1425"/>
              </a:lnSpc>
              <a:spcAft>
                <a:spcPts val="0"/>
              </a:spcAft>
              <a:buNone/>
              <a:defRPr sz="1050">
                <a:solidFill>
                  <a:schemeClr val="tx1"/>
                </a:solidFill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162" y="2552700"/>
            <a:ext cx="4771391" cy="154686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3000">
                <a:solidFill>
                  <a:schemeClr val="bg2"/>
                </a:solidFill>
                <a:latin typeface="Rockwell" charset="0"/>
                <a:ea typeface="Rockwell" charset="0"/>
                <a:cs typeface="Rockwell" charset="0"/>
              </a:defRPr>
            </a:lvl1pPr>
          </a:lstStyle>
          <a:p>
            <a:endParaRPr lang="en-US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5AF2099-0A1C-4719-8F4A-0A5B6DCD7AD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411163" y="4927997"/>
            <a:ext cx="1143000" cy="103584"/>
          </a:xfrm>
        </p:spPr>
        <p:txBody>
          <a:bodyPr anchor="ctr"/>
          <a:lstStyle>
            <a:lvl1pPr>
              <a:defRPr sz="675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pPr>
              <a:defRPr/>
            </a:pPr>
            <a:fld id="{F121F8B1-D27E-493F-B18F-D6F09CB8A85C}" type="datetime4">
              <a:rPr lang="en-US"/>
              <a:pPr>
                <a:defRPr/>
              </a:pPr>
              <a:t>April 10, 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05624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939ACC-745E-4C33-B7BF-D1672EEADA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298" y="1939975"/>
            <a:ext cx="6857405" cy="692497"/>
          </a:xfrm>
        </p:spPr>
        <p:txBody>
          <a:bodyPr anchor="b"/>
          <a:lstStyle>
            <a:lvl1pPr algn="ctr">
              <a:defRPr sz="4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E1361C8-A565-483F-81E9-A2109B4497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298" y="2701528"/>
            <a:ext cx="6857405" cy="20640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651257-CC11-4F26-8039-C7CA6F90AF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59226E-C7CA-4806-A244-DDF178368A41}" type="datetimeFigureOut">
              <a:rPr lang="en-US" smtClean="0"/>
              <a:t>4/10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46306D-FA90-4C6B-9E5E-8DDA9D9EE0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548" y="4937232"/>
            <a:ext cx="3086904" cy="10387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E7EBBB-191E-44AF-B644-C0489AEA5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8441" y="4937232"/>
            <a:ext cx="2056745" cy="103875"/>
          </a:xfrm>
          <a:prstGeom prst="rect">
            <a:avLst/>
          </a:prstGeom>
        </p:spPr>
        <p:txBody>
          <a:bodyPr/>
          <a:lstStyle/>
          <a:p>
            <a:fld id="{07D3DA24-8FD9-4F06-A32E-8847868F578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0929147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9F1ECEA5-9020-4635-8FA7-489C30935791}"/>
              </a:ext>
            </a:extLst>
          </p:cNvPr>
          <p:cNvSpPr/>
          <p:nvPr userDrawn="1"/>
        </p:nvSpPr>
        <p:spPr>
          <a:xfrm>
            <a:off x="0" y="3613435"/>
            <a:ext cx="9143998" cy="1530065"/>
          </a:xfrm>
          <a:prstGeom prst="rect">
            <a:avLst/>
          </a:prstGeom>
          <a:solidFill>
            <a:srgbClr val="002E5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1668" y="1"/>
            <a:ext cx="9144095" cy="13389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13" hasCustomPrompt="1"/>
          </p:nvPr>
        </p:nvSpPr>
        <p:spPr>
          <a:xfrm>
            <a:off x="4206384" y="1224007"/>
            <a:ext cx="4354140" cy="229871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2250" b="1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086" indent="0">
              <a:buNone/>
              <a:defRPr sz="20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171" indent="0">
              <a:buNone/>
              <a:defRPr sz="1799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257" indent="0">
              <a:buNone/>
              <a:defRPr sz="16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343" indent="0">
              <a:buNone/>
              <a:defRPr sz="16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 dirty="0"/>
              <a:t>THANK YOU</a:t>
            </a:r>
            <a:endParaRPr lang="en-IN" dirty="0"/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14" hasCustomPrompt="1"/>
          </p:nvPr>
        </p:nvSpPr>
        <p:spPr>
          <a:xfrm>
            <a:off x="4211915" y="1744747"/>
            <a:ext cx="4349594" cy="20518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350" baseline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086" indent="0">
              <a:buNone/>
              <a:defRPr sz="20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171" indent="0">
              <a:buNone/>
              <a:defRPr sz="1799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257" indent="0">
              <a:buNone/>
              <a:defRPr sz="16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343" indent="0">
              <a:buNone/>
              <a:defRPr sz="16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 dirty="0"/>
              <a:t>Name &amp; Designation</a:t>
            </a:r>
            <a:endParaRPr lang="en-IN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1527128" y="2428559"/>
            <a:ext cx="1321939" cy="323850"/>
            <a:chOff x="5213350" y="3213100"/>
            <a:chExt cx="1762125" cy="431800"/>
          </a:xfrm>
        </p:grpSpPr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5878513" y="3213100"/>
              <a:ext cx="431800" cy="431800"/>
            </a:xfrm>
            <a:custGeom>
              <a:avLst/>
              <a:gdLst>
                <a:gd name="T0" fmla="*/ 2247 w 4078"/>
                <a:gd name="T1" fmla="*/ 4070 h 4080"/>
                <a:gd name="T2" fmla="*/ 2549 w 4078"/>
                <a:gd name="T3" fmla="*/ 4015 h 4080"/>
                <a:gd name="T4" fmla="*/ 2833 w 4078"/>
                <a:gd name="T5" fmla="*/ 3920 h 4080"/>
                <a:gd name="T6" fmla="*/ 3096 w 4078"/>
                <a:gd name="T7" fmla="*/ 3784 h 4080"/>
                <a:gd name="T8" fmla="*/ 3336 w 4078"/>
                <a:gd name="T9" fmla="*/ 3615 h 4080"/>
                <a:gd name="T10" fmla="*/ 3548 w 4078"/>
                <a:gd name="T11" fmla="*/ 3412 h 4080"/>
                <a:gd name="T12" fmla="*/ 3730 w 4078"/>
                <a:gd name="T13" fmla="*/ 3181 h 4080"/>
                <a:gd name="T14" fmla="*/ 3877 w 4078"/>
                <a:gd name="T15" fmla="*/ 2924 h 4080"/>
                <a:gd name="T16" fmla="*/ 3986 w 4078"/>
                <a:gd name="T17" fmla="*/ 2646 h 4080"/>
                <a:gd name="T18" fmla="*/ 4055 w 4078"/>
                <a:gd name="T19" fmla="*/ 2351 h 4080"/>
                <a:gd name="T20" fmla="*/ 4078 w 4078"/>
                <a:gd name="T21" fmla="*/ 2039 h 4080"/>
                <a:gd name="T22" fmla="*/ 4055 w 4078"/>
                <a:gd name="T23" fmla="*/ 1729 h 4080"/>
                <a:gd name="T24" fmla="*/ 3986 w 4078"/>
                <a:gd name="T25" fmla="*/ 1434 h 4080"/>
                <a:gd name="T26" fmla="*/ 3877 w 4078"/>
                <a:gd name="T27" fmla="*/ 1156 h 4080"/>
                <a:gd name="T28" fmla="*/ 3730 w 4078"/>
                <a:gd name="T29" fmla="*/ 899 h 4080"/>
                <a:gd name="T30" fmla="*/ 3548 w 4078"/>
                <a:gd name="T31" fmla="*/ 668 h 4080"/>
                <a:gd name="T32" fmla="*/ 3336 w 4078"/>
                <a:gd name="T33" fmla="*/ 465 h 4080"/>
                <a:gd name="T34" fmla="*/ 3096 w 4078"/>
                <a:gd name="T35" fmla="*/ 296 h 4080"/>
                <a:gd name="T36" fmla="*/ 2833 w 4078"/>
                <a:gd name="T37" fmla="*/ 160 h 4080"/>
                <a:gd name="T38" fmla="*/ 2549 w 4078"/>
                <a:gd name="T39" fmla="*/ 65 h 4080"/>
                <a:gd name="T40" fmla="*/ 2247 w 4078"/>
                <a:gd name="T41" fmla="*/ 10 h 4080"/>
                <a:gd name="T42" fmla="*/ 1934 w 4078"/>
                <a:gd name="T43" fmla="*/ 3 h 4080"/>
                <a:gd name="T44" fmla="*/ 1628 w 4078"/>
                <a:gd name="T45" fmla="*/ 42 h 4080"/>
                <a:gd name="T46" fmla="*/ 1338 w 4078"/>
                <a:gd name="T47" fmla="*/ 124 h 4080"/>
                <a:gd name="T48" fmla="*/ 1067 w 4078"/>
                <a:gd name="T49" fmla="*/ 247 h 4080"/>
                <a:gd name="T50" fmla="*/ 819 w 4078"/>
                <a:gd name="T51" fmla="*/ 405 h 4080"/>
                <a:gd name="T52" fmla="*/ 597 w 4078"/>
                <a:gd name="T53" fmla="*/ 598 h 4080"/>
                <a:gd name="T54" fmla="*/ 405 w 4078"/>
                <a:gd name="T55" fmla="*/ 819 h 4080"/>
                <a:gd name="T56" fmla="*/ 246 w 4078"/>
                <a:gd name="T57" fmla="*/ 1068 h 4080"/>
                <a:gd name="T58" fmla="*/ 123 w 4078"/>
                <a:gd name="T59" fmla="*/ 1339 h 4080"/>
                <a:gd name="T60" fmla="*/ 41 w 4078"/>
                <a:gd name="T61" fmla="*/ 1629 h 4080"/>
                <a:gd name="T62" fmla="*/ 2 w 4078"/>
                <a:gd name="T63" fmla="*/ 1935 h 4080"/>
                <a:gd name="T64" fmla="*/ 11 w 4078"/>
                <a:gd name="T65" fmla="*/ 2249 h 4080"/>
                <a:gd name="T66" fmla="*/ 64 w 4078"/>
                <a:gd name="T67" fmla="*/ 2550 h 4080"/>
                <a:gd name="T68" fmla="*/ 161 w 4078"/>
                <a:gd name="T69" fmla="*/ 2834 h 4080"/>
                <a:gd name="T70" fmla="*/ 295 w 4078"/>
                <a:gd name="T71" fmla="*/ 3098 h 4080"/>
                <a:gd name="T72" fmla="*/ 466 w 4078"/>
                <a:gd name="T73" fmla="*/ 3338 h 4080"/>
                <a:gd name="T74" fmla="*/ 668 w 4078"/>
                <a:gd name="T75" fmla="*/ 3550 h 4080"/>
                <a:gd name="T76" fmla="*/ 898 w 4078"/>
                <a:gd name="T77" fmla="*/ 3731 h 4080"/>
                <a:gd name="T78" fmla="*/ 1154 w 4078"/>
                <a:gd name="T79" fmla="*/ 3879 h 4080"/>
                <a:gd name="T80" fmla="*/ 1432 w 4078"/>
                <a:gd name="T81" fmla="*/ 3988 h 4080"/>
                <a:gd name="T82" fmla="*/ 1729 w 4078"/>
                <a:gd name="T83" fmla="*/ 4056 h 4080"/>
                <a:gd name="T84" fmla="*/ 2039 w 4078"/>
                <a:gd name="T85" fmla="*/ 4080 h 4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78" h="4080">
                  <a:moveTo>
                    <a:pt x="2039" y="4080"/>
                  </a:moveTo>
                  <a:lnTo>
                    <a:pt x="2144" y="4077"/>
                  </a:lnTo>
                  <a:lnTo>
                    <a:pt x="2247" y="4070"/>
                  </a:lnTo>
                  <a:lnTo>
                    <a:pt x="2349" y="4056"/>
                  </a:lnTo>
                  <a:lnTo>
                    <a:pt x="2450" y="4038"/>
                  </a:lnTo>
                  <a:lnTo>
                    <a:pt x="2549" y="4015"/>
                  </a:lnTo>
                  <a:lnTo>
                    <a:pt x="2646" y="3988"/>
                  </a:lnTo>
                  <a:lnTo>
                    <a:pt x="2740" y="3956"/>
                  </a:lnTo>
                  <a:lnTo>
                    <a:pt x="2833" y="3920"/>
                  </a:lnTo>
                  <a:lnTo>
                    <a:pt x="2922" y="3879"/>
                  </a:lnTo>
                  <a:lnTo>
                    <a:pt x="3011" y="3834"/>
                  </a:lnTo>
                  <a:lnTo>
                    <a:pt x="3096" y="3784"/>
                  </a:lnTo>
                  <a:lnTo>
                    <a:pt x="3178" y="3731"/>
                  </a:lnTo>
                  <a:lnTo>
                    <a:pt x="3259" y="3675"/>
                  </a:lnTo>
                  <a:lnTo>
                    <a:pt x="3336" y="3615"/>
                  </a:lnTo>
                  <a:lnTo>
                    <a:pt x="3410" y="3550"/>
                  </a:lnTo>
                  <a:lnTo>
                    <a:pt x="3480" y="3482"/>
                  </a:lnTo>
                  <a:lnTo>
                    <a:pt x="3548" y="3412"/>
                  </a:lnTo>
                  <a:lnTo>
                    <a:pt x="3612" y="3338"/>
                  </a:lnTo>
                  <a:lnTo>
                    <a:pt x="3673" y="3261"/>
                  </a:lnTo>
                  <a:lnTo>
                    <a:pt x="3730" y="3181"/>
                  </a:lnTo>
                  <a:lnTo>
                    <a:pt x="3783" y="3098"/>
                  </a:lnTo>
                  <a:lnTo>
                    <a:pt x="3832" y="3013"/>
                  </a:lnTo>
                  <a:lnTo>
                    <a:pt x="3877" y="2924"/>
                  </a:lnTo>
                  <a:lnTo>
                    <a:pt x="3917" y="2834"/>
                  </a:lnTo>
                  <a:lnTo>
                    <a:pt x="3954" y="2741"/>
                  </a:lnTo>
                  <a:lnTo>
                    <a:pt x="3986" y="2646"/>
                  </a:lnTo>
                  <a:lnTo>
                    <a:pt x="4014" y="2550"/>
                  </a:lnTo>
                  <a:lnTo>
                    <a:pt x="4037" y="2451"/>
                  </a:lnTo>
                  <a:lnTo>
                    <a:pt x="4055" y="2351"/>
                  </a:lnTo>
                  <a:lnTo>
                    <a:pt x="4067" y="2249"/>
                  </a:lnTo>
                  <a:lnTo>
                    <a:pt x="4076" y="2145"/>
                  </a:lnTo>
                  <a:lnTo>
                    <a:pt x="4078" y="2039"/>
                  </a:lnTo>
                  <a:lnTo>
                    <a:pt x="4076" y="1935"/>
                  </a:lnTo>
                  <a:lnTo>
                    <a:pt x="4067" y="1831"/>
                  </a:lnTo>
                  <a:lnTo>
                    <a:pt x="4055" y="1729"/>
                  </a:lnTo>
                  <a:lnTo>
                    <a:pt x="4037" y="1629"/>
                  </a:lnTo>
                  <a:lnTo>
                    <a:pt x="4014" y="1530"/>
                  </a:lnTo>
                  <a:lnTo>
                    <a:pt x="3986" y="1434"/>
                  </a:lnTo>
                  <a:lnTo>
                    <a:pt x="3954" y="1339"/>
                  </a:lnTo>
                  <a:lnTo>
                    <a:pt x="3917" y="1246"/>
                  </a:lnTo>
                  <a:lnTo>
                    <a:pt x="3877" y="1156"/>
                  </a:lnTo>
                  <a:lnTo>
                    <a:pt x="3832" y="1068"/>
                  </a:lnTo>
                  <a:lnTo>
                    <a:pt x="3783" y="982"/>
                  </a:lnTo>
                  <a:lnTo>
                    <a:pt x="3730" y="899"/>
                  </a:lnTo>
                  <a:lnTo>
                    <a:pt x="3673" y="819"/>
                  </a:lnTo>
                  <a:lnTo>
                    <a:pt x="3612" y="742"/>
                  </a:lnTo>
                  <a:lnTo>
                    <a:pt x="3548" y="668"/>
                  </a:lnTo>
                  <a:lnTo>
                    <a:pt x="3480" y="598"/>
                  </a:lnTo>
                  <a:lnTo>
                    <a:pt x="3410" y="530"/>
                  </a:lnTo>
                  <a:lnTo>
                    <a:pt x="3336" y="465"/>
                  </a:lnTo>
                  <a:lnTo>
                    <a:pt x="3259" y="405"/>
                  </a:lnTo>
                  <a:lnTo>
                    <a:pt x="3178" y="349"/>
                  </a:lnTo>
                  <a:lnTo>
                    <a:pt x="3096" y="296"/>
                  </a:lnTo>
                  <a:lnTo>
                    <a:pt x="3011" y="247"/>
                  </a:lnTo>
                  <a:lnTo>
                    <a:pt x="2922" y="201"/>
                  </a:lnTo>
                  <a:lnTo>
                    <a:pt x="2833" y="160"/>
                  </a:lnTo>
                  <a:lnTo>
                    <a:pt x="2740" y="124"/>
                  </a:lnTo>
                  <a:lnTo>
                    <a:pt x="2646" y="92"/>
                  </a:lnTo>
                  <a:lnTo>
                    <a:pt x="2549" y="65"/>
                  </a:lnTo>
                  <a:lnTo>
                    <a:pt x="2450" y="42"/>
                  </a:lnTo>
                  <a:lnTo>
                    <a:pt x="2349" y="24"/>
                  </a:lnTo>
                  <a:lnTo>
                    <a:pt x="2247" y="10"/>
                  </a:lnTo>
                  <a:lnTo>
                    <a:pt x="2144" y="3"/>
                  </a:lnTo>
                  <a:lnTo>
                    <a:pt x="2039" y="0"/>
                  </a:lnTo>
                  <a:lnTo>
                    <a:pt x="1934" y="3"/>
                  </a:lnTo>
                  <a:lnTo>
                    <a:pt x="1831" y="10"/>
                  </a:lnTo>
                  <a:lnTo>
                    <a:pt x="1729" y="24"/>
                  </a:lnTo>
                  <a:lnTo>
                    <a:pt x="1628" y="42"/>
                  </a:lnTo>
                  <a:lnTo>
                    <a:pt x="1529" y="65"/>
                  </a:lnTo>
                  <a:lnTo>
                    <a:pt x="1432" y="92"/>
                  </a:lnTo>
                  <a:lnTo>
                    <a:pt x="1338" y="124"/>
                  </a:lnTo>
                  <a:lnTo>
                    <a:pt x="1245" y="160"/>
                  </a:lnTo>
                  <a:lnTo>
                    <a:pt x="1154" y="201"/>
                  </a:lnTo>
                  <a:lnTo>
                    <a:pt x="1067" y="247"/>
                  </a:lnTo>
                  <a:lnTo>
                    <a:pt x="982" y="296"/>
                  </a:lnTo>
                  <a:lnTo>
                    <a:pt x="898" y="349"/>
                  </a:lnTo>
                  <a:lnTo>
                    <a:pt x="819" y="405"/>
                  </a:lnTo>
                  <a:lnTo>
                    <a:pt x="742" y="465"/>
                  </a:lnTo>
                  <a:lnTo>
                    <a:pt x="668" y="530"/>
                  </a:lnTo>
                  <a:lnTo>
                    <a:pt x="597" y="598"/>
                  </a:lnTo>
                  <a:lnTo>
                    <a:pt x="530" y="668"/>
                  </a:lnTo>
                  <a:lnTo>
                    <a:pt x="466" y="742"/>
                  </a:lnTo>
                  <a:lnTo>
                    <a:pt x="405" y="819"/>
                  </a:lnTo>
                  <a:lnTo>
                    <a:pt x="348" y="899"/>
                  </a:lnTo>
                  <a:lnTo>
                    <a:pt x="295" y="982"/>
                  </a:lnTo>
                  <a:lnTo>
                    <a:pt x="246" y="1068"/>
                  </a:lnTo>
                  <a:lnTo>
                    <a:pt x="201" y="1156"/>
                  </a:lnTo>
                  <a:lnTo>
                    <a:pt x="161" y="1246"/>
                  </a:lnTo>
                  <a:lnTo>
                    <a:pt x="123" y="1339"/>
                  </a:lnTo>
                  <a:lnTo>
                    <a:pt x="92" y="1434"/>
                  </a:lnTo>
                  <a:lnTo>
                    <a:pt x="64" y="1530"/>
                  </a:lnTo>
                  <a:lnTo>
                    <a:pt x="41" y="1629"/>
                  </a:lnTo>
                  <a:lnTo>
                    <a:pt x="23" y="1729"/>
                  </a:lnTo>
                  <a:lnTo>
                    <a:pt x="11" y="1831"/>
                  </a:lnTo>
                  <a:lnTo>
                    <a:pt x="2" y="1935"/>
                  </a:lnTo>
                  <a:lnTo>
                    <a:pt x="0" y="2039"/>
                  </a:lnTo>
                  <a:lnTo>
                    <a:pt x="2" y="2145"/>
                  </a:lnTo>
                  <a:lnTo>
                    <a:pt x="11" y="2249"/>
                  </a:lnTo>
                  <a:lnTo>
                    <a:pt x="23" y="2351"/>
                  </a:lnTo>
                  <a:lnTo>
                    <a:pt x="41" y="2451"/>
                  </a:lnTo>
                  <a:lnTo>
                    <a:pt x="64" y="2550"/>
                  </a:lnTo>
                  <a:lnTo>
                    <a:pt x="92" y="2646"/>
                  </a:lnTo>
                  <a:lnTo>
                    <a:pt x="123" y="2741"/>
                  </a:lnTo>
                  <a:lnTo>
                    <a:pt x="161" y="2834"/>
                  </a:lnTo>
                  <a:lnTo>
                    <a:pt x="201" y="2924"/>
                  </a:lnTo>
                  <a:lnTo>
                    <a:pt x="246" y="3013"/>
                  </a:lnTo>
                  <a:lnTo>
                    <a:pt x="295" y="3098"/>
                  </a:lnTo>
                  <a:lnTo>
                    <a:pt x="348" y="3181"/>
                  </a:lnTo>
                  <a:lnTo>
                    <a:pt x="405" y="3261"/>
                  </a:lnTo>
                  <a:lnTo>
                    <a:pt x="466" y="3338"/>
                  </a:lnTo>
                  <a:lnTo>
                    <a:pt x="530" y="3412"/>
                  </a:lnTo>
                  <a:lnTo>
                    <a:pt x="597" y="3482"/>
                  </a:lnTo>
                  <a:lnTo>
                    <a:pt x="668" y="3550"/>
                  </a:lnTo>
                  <a:lnTo>
                    <a:pt x="742" y="3615"/>
                  </a:lnTo>
                  <a:lnTo>
                    <a:pt x="819" y="3675"/>
                  </a:lnTo>
                  <a:lnTo>
                    <a:pt x="898" y="3731"/>
                  </a:lnTo>
                  <a:lnTo>
                    <a:pt x="982" y="3784"/>
                  </a:lnTo>
                  <a:lnTo>
                    <a:pt x="1067" y="3834"/>
                  </a:lnTo>
                  <a:lnTo>
                    <a:pt x="1154" y="3879"/>
                  </a:lnTo>
                  <a:lnTo>
                    <a:pt x="1245" y="3920"/>
                  </a:lnTo>
                  <a:lnTo>
                    <a:pt x="1338" y="3956"/>
                  </a:lnTo>
                  <a:lnTo>
                    <a:pt x="1432" y="3988"/>
                  </a:lnTo>
                  <a:lnTo>
                    <a:pt x="1529" y="4015"/>
                  </a:lnTo>
                  <a:lnTo>
                    <a:pt x="1628" y="4038"/>
                  </a:lnTo>
                  <a:lnTo>
                    <a:pt x="1729" y="4056"/>
                  </a:lnTo>
                  <a:lnTo>
                    <a:pt x="1831" y="4070"/>
                  </a:lnTo>
                  <a:lnTo>
                    <a:pt x="1934" y="4077"/>
                  </a:lnTo>
                  <a:lnTo>
                    <a:pt x="2039" y="408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n-lt"/>
              </a:endParaRPr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5986463" y="3351213"/>
              <a:ext cx="215900" cy="176213"/>
            </a:xfrm>
            <a:custGeom>
              <a:avLst/>
              <a:gdLst>
                <a:gd name="T0" fmla="*/ 1926 w 2043"/>
                <a:gd name="T1" fmla="*/ 238 h 1661"/>
                <a:gd name="T2" fmla="*/ 1818 w 2043"/>
                <a:gd name="T3" fmla="*/ 253 h 1661"/>
                <a:gd name="T4" fmla="*/ 1890 w 2043"/>
                <a:gd name="T5" fmla="*/ 192 h 1661"/>
                <a:gd name="T6" fmla="*/ 1947 w 2043"/>
                <a:gd name="T7" fmla="*/ 117 h 1661"/>
                <a:gd name="T8" fmla="*/ 1987 w 2043"/>
                <a:gd name="T9" fmla="*/ 31 h 1661"/>
                <a:gd name="T10" fmla="*/ 1825 w 2043"/>
                <a:gd name="T11" fmla="*/ 105 h 1661"/>
                <a:gd name="T12" fmla="*/ 1690 w 2043"/>
                <a:gd name="T13" fmla="*/ 104 h 1661"/>
                <a:gd name="T14" fmla="*/ 1603 w 2043"/>
                <a:gd name="T15" fmla="*/ 44 h 1661"/>
                <a:gd name="T16" fmla="*/ 1503 w 2043"/>
                <a:gd name="T17" fmla="*/ 9 h 1661"/>
                <a:gd name="T18" fmla="*/ 1393 w 2043"/>
                <a:gd name="T19" fmla="*/ 1 h 1661"/>
                <a:gd name="T20" fmla="*/ 1290 w 2043"/>
                <a:gd name="T21" fmla="*/ 18 h 1661"/>
                <a:gd name="T22" fmla="*/ 1197 w 2043"/>
                <a:gd name="T23" fmla="*/ 61 h 1661"/>
                <a:gd name="T24" fmla="*/ 1118 w 2043"/>
                <a:gd name="T25" fmla="*/ 122 h 1661"/>
                <a:gd name="T26" fmla="*/ 1056 w 2043"/>
                <a:gd name="T27" fmla="*/ 202 h 1661"/>
                <a:gd name="T28" fmla="*/ 1015 w 2043"/>
                <a:gd name="T29" fmla="*/ 294 h 1661"/>
                <a:gd name="T30" fmla="*/ 996 w 2043"/>
                <a:gd name="T31" fmla="*/ 397 h 1661"/>
                <a:gd name="T32" fmla="*/ 1006 w 2043"/>
                <a:gd name="T33" fmla="*/ 515 h 1661"/>
                <a:gd name="T34" fmla="*/ 846 w 2043"/>
                <a:gd name="T35" fmla="*/ 496 h 1661"/>
                <a:gd name="T36" fmla="*/ 693 w 2043"/>
                <a:gd name="T37" fmla="*/ 457 h 1661"/>
                <a:gd name="T38" fmla="*/ 549 w 2043"/>
                <a:gd name="T39" fmla="*/ 398 h 1661"/>
                <a:gd name="T40" fmla="*/ 415 w 2043"/>
                <a:gd name="T41" fmla="*/ 322 h 1661"/>
                <a:gd name="T42" fmla="*/ 293 w 2043"/>
                <a:gd name="T43" fmla="*/ 230 h 1661"/>
                <a:gd name="T44" fmla="*/ 182 w 2043"/>
                <a:gd name="T45" fmla="*/ 124 h 1661"/>
                <a:gd name="T46" fmla="*/ 108 w 2043"/>
                <a:gd name="T47" fmla="*/ 151 h 1661"/>
                <a:gd name="T48" fmla="*/ 86 w 2043"/>
                <a:gd name="T49" fmla="*/ 288 h 1661"/>
                <a:gd name="T50" fmla="*/ 106 w 2043"/>
                <a:gd name="T51" fmla="*/ 418 h 1661"/>
                <a:gd name="T52" fmla="*/ 164 w 2043"/>
                <a:gd name="T53" fmla="*/ 532 h 1661"/>
                <a:gd name="T54" fmla="*/ 252 w 2043"/>
                <a:gd name="T55" fmla="*/ 622 h 1661"/>
                <a:gd name="T56" fmla="*/ 173 w 2043"/>
                <a:gd name="T57" fmla="*/ 621 h 1661"/>
                <a:gd name="T58" fmla="*/ 82 w 2043"/>
                <a:gd name="T59" fmla="*/ 589 h 1661"/>
                <a:gd name="T60" fmla="*/ 93 w 2043"/>
                <a:gd name="T61" fmla="*/ 682 h 1661"/>
                <a:gd name="T62" fmla="*/ 122 w 2043"/>
                <a:gd name="T63" fmla="*/ 767 h 1661"/>
                <a:gd name="T64" fmla="*/ 168 w 2043"/>
                <a:gd name="T65" fmla="*/ 843 h 1661"/>
                <a:gd name="T66" fmla="*/ 228 w 2043"/>
                <a:gd name="T67" fmla="*/ 907 h 1661"/>
                <a:gd name="T68" fmla="*/ 301 w 2043"/>
                <a:gd name="T69" fmla="*/ 957 h 1661"/>
                <a:gd name="T70" fmla="*/ 383 w 2043"/>
                <a:gd name="T71" fmla="*/ 992 h 1661"/>
                <a:gd name="T72" fmla="*/ 336 w 2043"/>
                <a:gd name="T73" fmla="*/ 1015 h 1661"/>
                <a:gd name="T74" fmla="*/ 229 w 2043"/>
                <a:gd name="T75" fmla="*/ 1007 h 1661"/>
                <a:gd name="T76" fmla="*/ 261 w 2043"/>
                <a:gd name="T77" fmla="*/ 1082 h 1661"/>
                <a:gd name="T78" fmla="*/ 307 w 2043"/>
                <a:gd name="T79" fmla="*/ 1148 h 1661"/>
                <a:gd name="T80" fmla="*/ 363 w 2043"/>
                <a:gd name="T81" fmla="*/ 1204 h 1661"/>
                <a:gd name="T82" fmla="*/ 430 w 2043"/>
                <a:gd name="T83" fmla="*/ 1249 h 1661"/>
                <a:gd name="T84" fmla="*/ 505 w 2043"/>
                <a:gd name="T85" fmla="*/ 1280 h 1661"/>
                <a:gd name="T86" fmla="*/ 587 w 2043"/>
                <a:gd name="T87" fmla="*/ 1297 h 1661"/>
                <a:gd name="T88" fmla="*/ 536 w 2043"/>
                <a:gd name="T89" fmla="*/ 1357 h 1661"/>
                <a:gd name="T90" fmla="*/ 380 w 2043"/>
                <a:gd name="T91" fmla="*/ 1431 h 1661"/>
                <a:gd name="T92" fmla="*/ 209 w 2043"/>
                <a:gd name="T93" fmla="*/ 1472 h 1661"/>
                <a:gd name="T94" fmla="*/ 50 w 2043"/>
                <a:gd name="T95" fmla="*/ 1477 h 1661"/>
                <a:gd name="T96" fmla="*/ 108 w 2043"/>
                <a:gd name="T97" fmla="*/ 1534 h 1661"/>
                <a:gd name="T98" fmla="*/ 302 w 2043"/>
                <a:gd name="T99" fmla="*/ 1611 h 1661"/>
                <a:gd name="T100" fmla="*/ 511 w 2043"/>
                <a:gd name="T101" fmla="*/ 1654 h 1661"/>
                <a:gd name="T102" fmla="*/ 783 w 2043"/>
                <a:gd name="T103" fmla="*/ 1653 h 1661"/>
                <a:gd name="T104" fmla="*/ 1098 w 2043"/>
                <a:gd name="T105" fmla="*/ 1577 h 1661"/>
                <a:gd name="T106" fmla="*/ 1359 w 2043"/>
                <a:gd name="T107" fmla="*/ 1429 h 1661"/>
                <a:gd name="T108" fmla="*/ 1564 w 2043"/>
                <a:gd name="T109" fmla="*/ 1228 h 1661"/>
                <a:gd name="T110" fmla="*/ 1714 w 2043"/>
                <a:gd name="T111" fmla="*/ 990 h 1661"/>
                <a:gd name="T112" fmla="*/ 1805 w 2043"/>
                <a:gd name="T113" fmla="*/ 732 h 1661"/>
                <a:gd name="T114" fmla="*/ 1835 w 2043"/>
                <a:gd name="T115" fmla="*/ 468 h 1661"/>
                <a:gd name="T116" fmla="*/ 1864 w 2043"/>
                <a:gd name="T117" fmla="*/ 391 h 1661"/>
                <a:gd name="T118" fmla="*/ 1998 w 2043"/>
                <a:gd name="T119" fmla="*/ 258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43" h="1661">
                  <a:moveTo>
                    <a:pt x="2043" y="196"/>
                  </a:moveTo>
                  <a:lnTo>
                    <a:pt x="2015" y="209"/>
                  </a:lnTo>
                  <a:lnTo>
                    <a:pt x="1986" y="219"/>
                  </a:lnTo>
                  <a:lnTo>
                    <a:pt x="1957" y="230"/>
                  </a:lnTo>
                  <a:lnTo>
                    <a:pt x="1926" y="238"/>
                  </a:lnTo>
                  <a:lnTo>
                    <a:pt x="1896" y="246"/>
                  </a:lnTo>
                  <a:lnTo>
                    <a:pt x="1865" y="253"/>
                  </a:lnTo>
                  <a:lnTo>
                    <a:pt x="1834" y="258"/>
                  </a:lnTo>
                  <a:lnTo>
                    <a:pt x="1803" y="263"/>
                  </a:lnTo>
                  <a:lnTo>
                    <a:pt x="1818" y="253"/>
                  </a:lnTo>
                  <a:lnTo>
                    <a:pt x="1834" y="242"/>
                  </a:lnTo>
                  <a:lnTo>
                    <a:pt x="1848" y="231"/>
                  </a:lnTo>
                  <a:lnTo>
                    <a:pt x="1863" y="218"/>
                  </a:lnTo>
                  <a:lnTo>
                    <a:pt x="1877" y="206"/>
                  </a:lnTo>
                  <a:lnTo>
                    <a:pt x="1890" y="192"/>
                  </a:lnTo>
                  <a:lnTo>
                    <a:pt x="1903" y="179"/>
                  </a:lnTo>
                  <a:lnTo>
                    <a:pt x="1915" y="164"/>
                  </a:lnTo>
                  <a:lnTo>
                    <a:pt x="1926" y="149"/>
                  </a:lnTo>
                  <a:lnTo>
                    <a:pt x="1937" y="133"/>
                  </a:lnTo>
                  <a:lnTo>
                    <a:pt x="1947" y="117"/>
                  </a:lnTo>
                  <a:lnTo>
                    <a:pt x="1957" y="101"/>
                  </a:lnTo>
                  <a:lnTo>
                    <a:pt x="1965" y="84"/>
                  </a:lnTo>
                  <a:lnTo>
                    <a:pt x="1973" y="66"/>
                  </a:lnTo>
                  <a:lnTo>
                    <a:pt x="1980" y="49"/>
                  </a:lnTo>
                  <a:lnTo>
                    <a:pt x="1987" y="31"/>
                  </a:lnTo>
                  <a:lnTo>
                    <a:pt x="1956" y="49"/>
                  </a:lnTo>
                  <a:lnTo>
                    <a:pt x="1924" y="64"/>
                  </a:lnTo>
                  <a:lnTo>
                    <a:pt x="1892" y="79"/>
                  </a:lnTo>
                  <a:lnTo>
                    <a:pt x="1859" y="92"/>
                  </a:lnTo>
                  <a:lnTo>
                    <a:pt x="1825" y="105"/>
                  </a:lnTo>
                  <a:lnTo>
                    <a:pt x="1791" y="115"/>
                  </a:lnTo>
                  <a:lnTo>
                    <a:pt x="1756" y="125"/>
                  </a:lnTo>
                  <a:lnTo>
                    <a:pt x="1720" y="132"/>
                  </a:lnTo>
                  <a:lnTo>
                    <a:pt x="1706" y="117"/>
                  </a:lnTo>
                  <a:lnTo>
                    <a:pt x="1690" y="104"/>
                  </a:lnTo>
                  <a:lnTo>
                    <a:pt x="1675" y="90"/>
                  </a:lnTo>
                  <a:lnTo>
                    <a:pt x="1657" y="78"/>
                  </a:lnTo>
                  <a:lnTo>
                    <a:pt x="1640" y="65"/>
                  </a:lnTo>
                  <a:lnTo>
                    <a:pt x="1621" y="55"/>
                  </a:lnTo>
                  <a:lnTo>
                    <a:pt x="1603" y="44"/>
                  </a:lnTo>
                  <a:lnTo>
                    <a:pt x="1584" y="36"/>
                  </a:lnTo>
                  <a:lnTo>
                    <a:pt x="1564" y="28"/>
                  </a:lnTo>
                  <a:lnTo>
                    <a:pt x="1544" y="20"/>
                  </a:lnTo>
                  <a:lnTo>
                    <a:pt x="1524" y="14"/>
                  </a:lnTo>
                  <a:lnTo>
                    <a:pt x="1503" y="9"/>
                  </a:lnTo>
                  <a:lnTo>
                    <a:pt x="1481" y="5"/>
                  </a:lnTo>
                  <a:lnTo>
                    <a:pt x="1459" y="3"/>
                  </a:lnTo>
                  <a:lnTo>
                    <a:pt x="1437" y="1"/>
                  </a:lnTo>
                  <a:lnTo>
                    <a:pt x="1414" y="0"/>
                  </a:lnTo>
                  <a:lnTo>
                    <a:pt x="1393" y="1"/>
                  </a:lnTo>
                  <a:lnTo>
                    <a:pt x="1372" y="2"/>
                  </a:lnTo>
                  <a:lnTo>
                    <a:pt x="1351" y="5"/>
                  </a:lnTo>
                  <a:lnTo>
                    <a:pt x="1330" y="9"/>
                  </a:lnTo>
                  <a:lnTo>
                    <a:pt x="1309" y="13"/>
                  </a:lnTo>
                  <a:lnTo>
                    <a:pt x="1290" y="18"/>
                  </a:lnTo>
                  <a:lnTo>
                    <a:pt x="1271" y="26"/>
                  </a:lnTo>
                  <a:lnTo>
                    <a:pt x="1251" y="33"/>
                  </a:lnTo>
                  <a:lnTo>
                    <a:pt x="1233" y="41"/>
                  </a:lnTo>
                  <a:lnTo>
                    <a:pt x="1215" y="51"/>
                  </a:lnTo>
                  <a:lnTo>
                    <a:pt x="1197" y="61"/>
                  </a:lnTo>
                  <a:lnTo>
                    <a:pt x="1180" y="71"/>
                  </a:lnTo>
                  <a:lnTo>
                    <a:pt x="1164" y="83"/>
                  </a:lnTo>
                  <a:lnTo>
                    <a:pt x="1148" y="95"/>
                  </a:lnTo>
                  <a:lnTo>
                    <a:pt x="1132" y="109"/>
                  </a:lnTo>
                  <a:lnTo>
                    <a:pt x="1118" y="122"/>
                  </a:lnTo>
                  <a:lnTo>
                    <a:pt x="1104" y="137"/>
                  </a:lnTo>
                  <a:lnTo>
                    <a:pt x="1091" y="153"/>
                  </a:lnTo>
                  <a:lnTo>
                    <a:pt x="1079" y="168"/>
                  </a:lnTo>
                  <a:lnTo>
                    <a:pt x="1067" y="185"/>
                  </a:lnTo>
                  <a:lnTo>
                    <a:pt x="1056" y="202"/>
                  </a:lnTo>
                  <a:lnTo>
                    <a:pt x="1046" y="219"/>
                  </a:lnTo>
                  <a:lnTo>
                    <a:pt x="1037" y="237"/>
                  </a:lnTo>
                  <a:lnTo>
                    <a:pt x="1028" y="256"/>
                  </a:lnTo>
                  <a:lnTo>
                    <a:pt x="1021" y="276"/>
                  </a:lnTo>
                  <a:lnTo>
                    <a:pt x="1015" y="294"/>
                  </a:lnTo>
                  <a:lnTo>
                    <a:pt x="1009" y="314"/>
                  </a:lnTo>
                  <a:lnTo>
                    <a:pt x="1004" y="335"/>
                  </a:lnTo>
                  <a:lnTo>
                    <a:pt x="1000" y="356"/>
                  </a:lnTo>
                  <a:lnTo>
                    <a:pt x="998" y="377"/>
                  </a:lnTo>
                  <a:lnTo>
                    <a:pt x="996" y="397"/>
                  </a:lnTo>
                  <a:lnTo>
                    <a:pt x="996" y="419"/>
                  </a:lnTo>
                  <a:lnTo>
                    <a:pt x="996" y="444"/>
                  </a:lnTo>
                  <a:lnTo>
                    <a:pt x="998" y="468"/>
                  </a:lnTo>
                  <a:lnTo>
                    <a:pt x="1001" y="491"/>
                  </a:lnTo>
                  <a:lnTo>
                    <a:pt x="1006" y="515"/>
                  </a:lnTo>
                  <a:lnTo>
                    <a:pt x="974" y="513"/>
                  </a:lnTo>
                  <a:lnTo>
                    <a:pt x="942" y="510"/>
                  </a:lnTo>
                  <a:lnTo>
                    <a:pt x="910" y="506"/>
                  </a:lnTo>
                  <a:lnTo>
                    <a:pt x="877" y="501"/>
                  </a:lnTo>
                  <a:lnTo>
                    <a:pt x="846" y="496"/>
                  </a:lnTo>
                  <a:lnTo>
                    <a:pt x="815" y="489"/>
                  </a:lnTo>
                  <a:lnTo>
                    <a:pt x="784" y="483"/>
                  </a:lnTo>
                  <a:lnTo>
                    <a:pt x="754" y="474"/>
                  </a:lnTo>
                  <a:lnTo>
                    <a:pt x="723" y="466"/>
                  </a:lnTo>
                  <a:lnTo>
                    <a:pt x="693" y="457"/>
                  </a:lnTo>
                  <a:lnTo>
                    <a:pt x="664" y="446"/>
                  </a:lnTo>
                  <a:lnTo>
                    <a:pt x="635" y="435"/>
                  </a:lnTo>
                  <a:lnTo>
                    <a:pt x="606" y="423"/>
                  </a:lnTo>
                  <a:lnTo>
                    <a:pt x="577" y="411"/>
                  </a:lnTo>
                  <a:lnTo>
                    <a:pt x="549" y="398"/>
                  </a:lnTo>
                  <a:lnTo>
                    <a:pt x="522" y="384"/>
                  </a:lnTo>
                  <a:lnTo>
                    <a:pt x="494" y="369"/>
                  </a:lnTo>
                  <a:lnTo>
                    <a:pt x="467" y="355"/>
                  </a:lnTo>
                  <a:lnTo>
                    <a:pt x="441" y="339"/>
                  </a:lnTo>
                  <a:lnTo>
                    <a:pt x="415" y="322"/>
                  </a:lnTo>
                  <a:lnTo>
                    <a:pt x="389" y="305"/>
                  </a:lnTo>
                  <a:lnTo>
                    <a:pt x="364" y="287"/>
                  </a:lnTo>
                  <a:lnTo>
                    <a:pt x="339" y="268"/>
                  </a:lnTo>
                  <a:lnTo>
                    <a:pt x="315" y="249"/>
                  </a:lnTo>
                  <a:lnTo>
                    <a:pt x="293" y="230"/>
                  </a:lnTo>
                  <a:lnTo>
                    <a:pt x="270" y="210"/>
                  </a:lnTo>
                  <a:lnTo>
                    <a:pt x="247" y="189"/>
                  </a:lnTo>
                  <a:lnTo>
                    <a:pt x="225" y="167"/>
                  </a:lnTo>
                  <a:lnTo>
                    <a:pt x="203" y="145"/>
                  </a:lnTo>
                  <a:lnTo>
                    <a:pt x="182" y="124"/>
                  </a:lnTo>
                  <a:lnTo>
                    <a:pt x="163" y="101"/>
                  </a:lnTo>
                  <a:lnTo>
                    <a:pt x="143" y="77"/>
                  </a:lnTo>
                  <a:lnTo>
                    <a:pt x="130" y="101"/>
                  </a:lnTo>
                  <a:lnTo>
                    <a:pt x="119" y="125"/>
                  </a:lnTo>
                  <a:lnTo>
                    <a:pt x="108" y="151"/>
                  </a:lnTo>
                  <a:lnTo>
                    <a:pt x="101" y="177"/>
                  </a:lnTo>
                  <a:lnTo>
                    <a:pt x="94" y="204"/>
                  </a:lnTo>
                  <a:lnTo>
                    <a:pt x="90" y="231"/>
                  </a:lnTo>
                  <a:lnTo>
                    <a:pt x="87" y="259"/>
                  </a:lnTo>
                  <a:lnTo>
                    <a:pt x="86" y="288"/>
                  </a:lnTo>
                  <a:lnTo>
                    <a:pt x="87" y="315"/>
                  </a:lnTo>
                  <a:lnTo>
                    <a:pt x="90" y="341"/>
                  </a:lnTo>
                  <a:lnTo>
                    <a:pt x="94" y="367"/>
                  </a:lnTo>
                  <a:lnTo>
                    <a:pt x="99" y="393"/>
                  </a:lnTo>
                  <a:lnTo>
                    <a:pt x="106" y="418"/>
                  </a:lnTo>
                  <a:lnTo>
                    <a:pt x="116" y="442"/>
                  </a:lnTo>
                  <a:lnTo>
                    <a:pt x="125" y="466"/>
                  </a:lnTo>
                  <a:lnTo>
                    <a:pt x="137" y="488"/>
                  </a:lnTo>
                  <a:lnTo>
                    <a:pt x="150" y="510"/>
                  </a:lnTo>
                  <a:lnTo>
                    <a:pt x="164" y="532"/>
                  </a:lnTo>
                  <a:lnTo>
                    <a:pt x="179" y="551"/>
                  </a:lnTo>
                  <a:lnTo>
                    <a:pt x="196" y="570"/>
                  </a:lnTo>
                  <a:lnTo>
                    <a:pt x="214" y="589"/>
                  </a:lnTo>
                  <a:lnTo>
                    <a:pt x="232" y="606"/>
                  </a:lnTo>
                  <a:lnTo>
                    <a:pt x="252" y="622"/>
                  </a:lnTo>
                  <a:lnTo>
                    <a:pt x="273" y="637"/>
                  </a:lnTo>
                  <a:lnTo>
                    <a:pt x="247" y="635"/>
                  </a:lnTo>
                  <a:lnTo>
                    <a:pt x="222" y="632"/>
                  </a:lnTo>
                  <a:lnTo>
                    <a:pt x="197" y="627"/>
                  </a:lnTo>
                  <a:lnTo>
                    <a:pt x="173" y="621"/>
                  </a:lnTo>
                  <a:lnTo>
                    <a:pt x="149" y="614"/>
                  </a:lnTo>
                  <a:lnTo>
                    <a:pt x="126" y="606"/>
                  </a:lnTo>
                  <a:lnTo>
                    <a:pt x="104" y="595"/>
                  </a:lnTo>
                  <a:lnTo>
                    <a:pt x="82" y="584"/>
                  </a:lnTo>
                  <a:lnTo>
                    <a:pt x="82" y="589"/>
                  </a:lnTo>
                  <a:lnTo>
                    <a:pt x="82" y="609"/>
                  </a:lnTo>
                  <a:lnTo>
                    <a:pt x="84" y="627"/>
                  </a:lnTo>
                  <a:lnTo>
                    <a:pt x="87" y="645"/>
                  </a:lnTo>
                  <a:lnTo>
                    <a:pt x="89" y="664"/>
                  </a:lnTo>
                  <a:lnTo>
                    <a:pt x="93" y="682"/>
                  </a:lnTo>
                  <a:lnTo>
                    <a:pt x="97" y="699"/>
                  </a:lnTo>
                  <a:lnTo>
                    <a:pt x="102" y="717"/>
                  </a:lnTo>
                  <a:lnTo>
                    <a:pt x="108" y="734"/>
                  </a:lnTo>
                  <a:lnTo>
                    <a:pt x="115" y="750"/>
                  </a:lnTo>
                  <a:lnTo>
                    <a:pt x="122" y="767"/>
                  </a:lnTo>
                  <a:lnTo>
                    <a:pt x="129" y="783"/>
                  </a:lnTo>
                  <a:lnTo>
                    <a:pt x="139" y="798"/>
                  </a:lnTo>
                  <a:lnTo>
                    <a:pt x="147" y="814"/>
                  </a:lnTo>
                  <a:lnTo>
                    <a:pt x="157" y="828"/>
                  </a:lnTo>
                  <a:lnTo>
                    <a:pt x="168" y="843"/>
                  </a:lnTo>
                  <a:lnTo>
                    <a:pt x="178" y="856"/>
                  </a:lnTo>
                  <a:lnTo>
                    <a:pt x="191" y="870"/>
                  </a:lnTo>
                  <a:lnTo>
                    <a:pt x="202" y="882"/>
                  </a:lnTo>
                  <a:lnTo>
                    <a:pt x="215" y="895"/>
                  </a:lnTo>
                  <a:lnTo>
                    <a:pt x="228" y="907"/>
                  </a:lnTo>
                  <a:lnTo>
                    <a:pt x="242" y="918"/>
                  </a:lnTo>
                  <a:lnTo>
                    <a:pt x="256" y="929"/>
                  </a:lnTo>
                  <a:lnTo>
                    <a:pt x="270" y="939"/>
                  </a:lnTo>
                  <a:lnTo>
                    <a:pt x="285" y="948"/>
                  </a:lnTo>
                  <a:lnTo>
                    <a:pt x="301" y="957"/>
                  </a:lnTo>
                  <a:lnTo>
                    <a:pt x="317" y="966"/>
                  </a:lnTo>
                  <a:lnTo>
                    <a:pt x="332" y="973"/>
                  </a:lnTo>
                  <a:lnTo>
                    <a:pt x="349" y="980"/>
                  </a:lnTo>
                  <a:lnTo>
                    <a:pt x="366" y="987"/>
                  </a:lnTo>
                  <a:lnTo>
                    <a:pt x="383" y="992"/>
                  </a:lnTo>
                  <a:lnTo>
                    <a:pt x="401" y="996"/>
                  </a:lnTo>
                  <a:lnTo>
                    <a:pt x="419" y="1000"/>
                  </a:lnTo>
                  <a:lnTo>
                    <a:pt x="391" y="1006"/>
                  </a:lnTo>
                  <a:lnTo>
                    <a:pt x="364" y="1012"/>
                  </a:lnTo>
                  <a:lnTo>
                    <a:pt x="336" y="1015"/>
                  </a:lnTo>
                  <a:lnTo>
                    <a:pt x="308" y="1015"/>
                  </a:lnTo>
                  <a:lnTo>
                    <a:pt x="288" y="1015"/>
                  </a:lnTo>
                  <a:lnTo>
                    <a:pt x="269" y="1014"/>
                  </a:lnTo>
                  <a:lnTo>
                    <a:pt x="249" y="1011"/>
                  </a:lnTo>
                  <a:lnTo>
                    <a:pt x="229" y="1007"/>
                  </a:lnTo>
                  <a:lnTo>
                    <a:pt x="234" y="1023"/>
                  </a:lnTo>
                  <a:lnTo>
                    <a:pt x="241" y="1039"/>
                  </a:lnTo>
                  <a:lnTo>
                    <a:pt x="247" y="1053"/>
                  </a:lnTo>
                  <a:lnTo>
                    <a:pt x="254" y="1068"/>
                  </a:lnTo>
                  <a:lnTo>
                    <a:pt x="261" y="1082"/>
                  </a:lnTo>
                  <a:lnTo>
                    <a:pt x="270" y="1096"/>
                  </a:lnTo>
                  <a:lnTo>
                    <a:pt x="278" y="1109"/>
                  </a:lnTo>
                  <a:lnTo>
                    <a:pt x="287" y="1123"/>
                  </a:lnTo>
                  <a:lnTo>
                    <a:pt x="297" y="1135"/>
                  </a:lnTo>
                  <a:lnTo>
                    <a:pt x="307" y="1148"/>
                  </a:lnTo>
                  <a:lnTo>
                    <a:pt x="318" y="1160"/>
                  </a:lnTo>
                  <a:lnTo>
                    <a:pt x="328" y="1172"/>
                  </a:lnTo>
                  <a:lnTo>
                    <a:pt x="339" y="1183"/>
                  </a:lnTo>
                  <a:lnTo>
                    <a:pt x="352" y="1194"/>
                  </a:lnTo>
                  <a:lnTo>
                    <a:pt x="363" y="1204"/>
                  </a:lnTo>
                  <a:lnTo>
                    <a:pt x="376" y="1215"/>
                  </a:lnTo>
                  <a:lnTo>
                    <a:pt x="389" y="1224"/>
                  </a:lnTo>
                  <a:lnTo>
                    <a:pt x="403" y="1232"/>
                  </a:lnTo>
                  <a:lnTo>
                    <a:pt x="416" y="1242"/>
                  </a:lnTo>
                  <a:lnTo>
                    <a:pt x="430" y="1249"/>
                  </a:lnTo>
                  <a:lnTo>
                    <a:pt x="445" y="1256"/>
                  </a:lnTo>
                  <a:lnTo>
                    <a:pt x="459" y="1264"/>
                  </a:lnTo>
                  <a:lnTo>
                    <a:pt x="475" y="1270"/>
                  </a:lnTo>
                  <a:lnTo>
                    <a:pt x="489" y="1275"/>
                  </a:lnTo>
                  <a:lnTo>
                    <a:pt x="505" y="1280"/>
                  </a:lnTo>
                  <a:lnTo>
                    <a:pt x="522" y="1285"/>
                  </a:lnTo>
                  <a:lnTo>
                    <a:pt x="537" y="1288"/>
                  </a:lnTo>
                  <a:lnTo>
                    <a:pt x="554" y="1292"/>
                  </a:lnTo>
                  <a:lnTo>
                    <a:pt x="570" y="1295"/>
                  </a:lnTo>
                  <a:lnTo>
                    <a:pt x="587" y="1297"/>
                  </a:lnTo>
                  <a:lnTo>
                    <a:pt x="604" y="1298"/>
                  </a:lnTo>
                  <a:lnTo>
                    <a:pt x="620" y="1299"/>
                  </a:lnTo>
                  <a:lnTo>
                    <a:pt x="593" y="1320"/>
                  </a:lnTo>
                  <a:lnTo>
                    <a:pt x="565" y="1338"/>
                  </a:lnTo>
                  <a:lnTo>
                    <a:pt x="536" y="1357"/>
                  </a:lnTo>
                  <a:lnTo>
                    <a:pt x="507" y="1374"/>
                  </a:lnTo>
                  <a:lnTo>
                    <a:pt x="476" y="1391"/>
                  </a:lnTo>
                  <a:lnTo>
                    <a:pt x="445" y="1405"/>
                  </a:lnTo>
                  <a:lnTo>
                    <a:pt x="413" y="1419"/>
                  </a:lnTo>
                  <a:lnTo>
                    <a:pt x="380" y="1431"/>
                  </a:lnTo>
                  <a:lnTo>
                    <a:pt x="348" y="1442"/>
                  </a:lnTo>
                  <a:lnTo>
                    <a:pt x="313" y="1451"/>
                  </a:lnTo>
                  <a:lnTo>
                    <a:pt x="279" y="1459"/>
                  </a:lnTo>
                  <a:lnTo>
                    <a:pt x="245" y="1465"/>
                  </a:lnTo>
                  <a:lnTo>
                    <a:pt x="209" y="1472"/>
                  </a:lnTo>
                  <a:lnTo>
                    <a:pt x="173" y="1475"/>
                  </a:lnTo>
                  <a:lnTo>
                    <a:pt x="137" y="1477"/>
                  </a:lnTo>
                  <a:lnTo>
                    <a:pt x="100" y="1478"/>
                  </a:lnTo>
                  <a:lnTo>
                    <a:pt x="75" y="1478"/>
                  </a:lnTo>
                  <a:lnTo>
                    <a:pt x="50" y="1477"/>
                  </a:lnTo>
                  <a:lnTo>
                    <a:pt x="25" y="1475"/>
                  </a:lnTo>
                  <a:lnTo>
                    <a:pt x="0" y="1473"/>
                  </a:lnTo>
                  <a:lnTo>
                    <a:pt x="36" y="1494"/>
                  </a:lnTo>
                  <a:lnTo>
                    <a:pt x="72" y="1514"/>
                  </a:lnTo>
                  <a:lnTo>
                    <a:pt x="108" y="1534"/>
                  </a:lnTo>
                  <a:lnTo>
                    <a:pt x="146" y="1552"/>
                  </a:lnTo>
                  <a:lnTo>
                    <a:pt x="184" y="1569"/>
                  </a:lnTo>
                  <a:lnTo>
                    <a:pt x="223" y="1584"/>
                  </a:lnTo>
                  <a:lnTo>
                    <a:pt x="262" y="1599"/>
                  </a:lnTo>
                  <a:lnTo>
                    <a:pt x="302" y="1611"/>
                  </a:lnTo>
                  <a:lnTo>
                    <a:pt x="344" y="1623"/>
                  </a:lnTo>
                  <a:lnTo>
                    <a:pt x="384" y="1632"/>
                  </a:lnTo>
                  <a:lnTo>
                    <a:pt x="426" y="1641"/>
                  </a:lnTo>
                  <a:lnTo>
                    <a:pt x="468" y="1648"/>
                  </a:lnTo>
                  <a:lnTo>
                    <a:pt x="511" y="1654"/>
                  </a:lnTo>
                  <a:lnTo>
                    <a:pt x="555" y="1657"/>
                  </a:lnTo>
                  <a:lnTo>
                    <a:pt x="599" y="1660"/>
                  </a:lnTo>
                  <a:lnTo>
                    <a:pt x="642" y="1661"/>
                  </a:lnTo>
                  <a:lnTo>
                    <a:pt x="714" y="1659"/>
                  </a:lnTo>
                  <a:lnTo>
                    <a:pt x="783" y="1653"/>
                  </a:lnTo>
                  <a:lnTo>
                    <a:pt x="850" y="1645"/>
                  </a:lnTo>
                  <a:lnTo>
                    <a:pt x="915" y="1632"/>
                  </a:lnTo>
                  <a:lnTo>
                    <a:pt x="978" y="1616"/>
                  </a:lnTo>
                  <a:lnTo>
                    <a:pt x="1039" y="1598"/>
                  </a:lnTo>
                  <a:lnTo>
                    <a:pt x="1098" y="1577"/>
                  </a:lnTo>
                  <a:lnTo>
                    <a:pt x="1154" y="1552"/>
                  </a:lnTo>
                  <a:lnTo>
                    <a:pt x="1208" y="1525"/>
                  </a:lnTo>
                  <a:lnTo>
                    <a:pt x="1260" y="1496"/>
                  </a:lnTo>
                  <a:lnTo>
                    <a:pt x="1311" y="1463"/>
                  </a:lnTo>
                  <a:lnTo>
                    <a:pt x="1359" y="1429"/>
                  </a:lnTo>
                  <a:lnTo>
                    <a:pt x="1404" y="1393"/>
                  </a:lnTo>
                  <a:lnTo>
                    <a:pt x="1448" y="1354"/>
                  </a:lnTo>
                  <a:lnTo>
                    <a:pt x="1489" y="1315"/>
                  </a:lnTo>
                  <a:lnTo>
                    <a:pt x="1528" y="1272"/>
                  </a:lnTo>
                  <a:lnTo>
                    <a:pt x="1564" y="1228"/>
                  </a:lnTo>
                  <a:lnTo>
                    <a:pt x="1599" y="1183"/>
                  </a:lnTo>
                  <a:lnTo>
                    <a:pt x="1631" y="1137"/>
                  </a:lnTo>
                  <a:lnTo>
                    <a:pt x="1661" y="1089"/>
                  </a:lnTo>
                  <a:lnTo>
                    <a:pt x="1688" y="1040"/>
                  </a:lnTo>
                  <a:lnTo>
                    <a:pt x="1714" y="990"/>
                  </a:lnTo>
                  <a:lnTo>
                    <a:pt x="1737" y="940"/>
                  </a:lnTo>
                  <a:lnTo>
                    <a:pt x="1757" y="888"/>
                  </a:lnTo>
                  <a:lnTo>
                    <a:pt x="1775" y="836"/>
                  </a:lnTo>
                  <a:lnTo>
                    <a:pt x="1791" y="784"/>
                  </a:lnTo>
                  <a:lnTo>
                    <a:pt x="1805" y="732"/>
                  </a:lnTo>
                  <a:lnTo>
                    <a:pt x="1815" y="678"/>
                  </a:lnTo>
                  <a:lnTo>
                    <a:pt x="1824" y="625"/>
                  </a:lnTo>
                  <a:lnTo>
                    <a:pt x="1830" y="572"/>
                  </a:lnTo>
                  <a:lnTo>
                    <a:pt x="1834" y="520"/>
                  </a:lnTo>
                  <a:lnTo>
                    <a:pt x="1835" y="468"/>
                  </a:lnTo>
                  <a:lnTo>
                    <a:pt x="1835" y="455"/>
                  </a:lnTo>
                  <a:lnTo>
                    <a:pt x="1835" y="441"/>
                  </a:lnTo>
                  <a:lnTo>
                    <a:pt x="1835" y="428"/>
                  </a:lnTo>
                  <a:lnTo>
                    <a:pt x="1834" y="414"/>
                  </a:lnTo>
                  <a:lnTo>
                    <a:pt x="1864" y="391"/>
                  </a:lnTo>
                  <a:lnTo>
                    <a:pt x="1893" y="366"/>
                  </a:lnTo>
                  <a:lnTo>
                    <a:pt x="1921" y="341"/>
                  </a:lnTo>
                  <a:lnTo>
                    <a:pt x="1948" y="314"/>
                  </a:lnTo>
                  <a:lnTo>
                    <a:pt x="1974" y="287"/>
                  </a:lnTo>
                  <a:lnTo>
                    <a:pt x="1998" y="258"/>
                  </a:lnTo>
                  <a:lnTo>
                    <a:pt x="2021" y="228"/>
                  </a:lnTo>
                  <a:lnTo>
                    <a:pt x="2043" y="196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n-lt"/>
              </a:endParaRPr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5213350" y="3213100"/>
              <a:ext cx="431800" cy="431800"/>
            </a:xfrm>
            <a:custGeom>
              <a:avLst/>
              <a:gdLst>
                <a:gd name="T0" fmla="*/ 2248 w 4078"/>
                <a:gd name="T1" fmla="*/ 4070 h 4080"/>
                <a:gd name="T2" fmla="*/ 2548 w 4078"/>
                <a:gd name="T3" fmla="*/ 4015 h 4080"/>
                <a:gd name="T4" fmla="*/ 2833 w 4078"/>
                <a:gd name="T5" fmla="*/ 3920 h 4080"/>
                <a:gd name="T6" fmla="*/ 3096 w 4078"/>
                <a:gd name="T7" fmla="*/ 3784 h 4080"/>
                <a:gd name="T8" fmla="*/ 3336 w 4078"/>
                <a:gd name="T9" fmla="*/ 3615 h 4080"/>
                <a:gd name="T10" fmla="*/ 3549 w 4078"/>
                <a:gd name="T11" fmla="*/ 3412 h 4080"/>
                <a:gd name="T12" fmla="*/ 3730 w 4078"/>
                <a:gd name="T13" fmla="*/ 3181 h 4080"/>
                <a:gd name="T14" fmla="*/ 3877 w 4078"/>
                <a:gd name="T15" fmla="*/ 2924 h 4080"/>
                <a:gd name="T16" fmla="*/ 3987 w 4078"/>
                <a:gd name="T17" fmla="*/ 2646 h 4080"/>
                <a:gd name="T18" fmla="*/ 4054 w 4078"/>
                <a:gd name="T19" fmla="*/ 2351 h 4080"/>
                <a:gd name="T20" fmla="*/ 4078 w 4078"/>
                <a:gd name="T21" fmla="*/ 2039 h 4080"/>
                <a:gd name="T22" fmla="*/ 4054 w 4078"/>
                <a:gd name="T23" fmla="*/ 1729 h 4080"/>
                <a:gd name="T24" fmla="*/ 3987 w 4078"/>
                <a:gd name="T25" fmla="*/ 1434 h 4080"/>
                <a:gd name="T26" fmla="*/ 3877 w 4078"/>
                <a:gd name="T27" fmla="*/ 1156 h 4080"/>
                <a:gd name="T28" fmla="*/ 3730 w 4078"/>
                <a:gd name="T29" fmla="*/ 899 h 4080"/>
                <a:gd name="T30" fmla="*/ 3549 w 4078"/>
                <a:gd name="T31" fmla="*/ 668 h 4080"/>
                <a:gd name="T32" fmla="*/ 3336 w 4078"/>
                <a:gd name="T33" fmla="*/ 465 h 4080"/>
                <a:gd name="T34" fmla="*/ 3096 w 4078"/>
                <a:gd name="T35" fmla="*/ 296 h 4080"/>
                <a:gd name="T36" fmla="*/ 2833 w 4078"/>
                <a:gd name="T37" fmla="*/ 160 h 4080"/>
                <a:gd name="T38" fmla="*/ 2548 w 4078"/>
                <a:gd name="T39" fmla="*/ 65 h 4080"/>
                <a:gd name="T40" fmla="*/ 2248 w 4078"/>
                <a:gd name="T41" fmla="*/ 10 h 4080"/>
                <a:gd name="T42" fmla="*/ 1935 w 4078"/>
                <a:gd name="T43" fmla="*/ 3 h 4080"/>
                <a:gd name="T44" fmla="*/ 1628 w 4078"/>
                <a:gd name="T45" fmla="*/ 42 h 4080"/>
                <a:gd name="T46" fmla="*/ 1338 w 4078"/>
                <a:gd name="T47" fmla="*/ 124 h 4080"/>
                <a:gd name="T48" fmla="*/ 1067 w 4078"/>
                <a:gd name="T49" fmla="*/ 247 h 4080"/>
                <a:gd name="T50" fmla="*/ 819 w 4078"/>
                <a:gd name="T51" fmla="*/ 405 h 4080"/>
                <a:gd name="T52" fmla="*/ 597 w 4078"/>
                <a:gd name="T53" fmla="*/ 598 h 4080"/>
                <a:gd name="T54" fmla="*/ 405 w 4078"/>
                <a:gd name="T55" fmla="*/ 819 h 4080"/>
                <a:gd name="T56" fmla="*/ 246 w 4078"/>
                <a:gd name="T57" fmla="*/ 1067 h 4080"/>
                <a:gd name="T58" fmla="*/ 124 w 4078"/>
                <a:gd name="T59" fmla="*/ 1339 h 4080"/>
                <a:gd name="T60" fmla="*/ 42 w 4078"/>
                <a:gd name="T61" fmla="*/ 1629 h 4080"/>
                <a:gd name="T62" fmla="*/ 3 w 4078"/>
                <a:gd name="T63" fmla="*/ 1935 h 4080"/>
                <a:gd name="T64" fmla="*/ 10 w 4078"/>
                <a:gd name="T65" fmla="*/ 2249 h 4080"/>
                <a:gd name="T66" fmla="*/ 65 w 4078"/>
                <a:gd name="T67" fmla="*/ 2550 h 4080"/>
                <a:gd name="T68" fmla="*/ 160 w 4078"/>
                <a:gd name="T69" fmla="*/ 2834 h 4080"/>
                <a:gd name="T70" fmla="*/ 296 w 4078"/>
                <a:gd name="T71" fmla="*/ 3098 h 4080"/>
                <a:gd name="T72" fmla="*/ 465 w 4078"/>
                <a:gd name="T73" fmla="*/ 3338 h 4080"/>
                <a:gd name="T74" fmla="*/ 668 w 4078"/>
                <a:gd name="T75" fmla="*/ 3550 h 4080"/>
                <a:gd name="T76" fmla="*/ 899 w 4078"/>
                <a:gd name="T77" fmla="*/ 3731 h 4080"/>
                <a:gd name="T78" fmla="*/ 1155 w 4078"/>
                <a:gd name="T79" fmla="*/ 3879 h 4080"/>
                <a:gd name="T80" fmla="*/ 1433 w 4078"/>
                <a:gd name="T81" fmla="*/ 3988 h 4080"/>
                <a:gd name="T82" fmla="*/ 1728 w 4078"/>
                <a:gd name="T83" fmla="*/ 4056 h 4080"/>
                <a:gd name="T84" fmla="*/ 2039 w 4078"/>
                <a:gd name="T85" fmla="*/ 4080 h 4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78" h="4080">
                  <a:moveTo>
                    <a:pt x="2039" y="4080"/>
                  </a:moveTo>
                  <a:lnTo>
                    <a:pt x="2144" y="4077"/>
                  </a:lnTo>
                  <a:lnTo>
                    <a:pt x="2248" y="4070"/>
                  </a:lnTo>
                  <a:lnTo>
                    <a:pt x="2350" y="4056"/>
                  </a:lnTo>
                  <a:lnTo>
                    <a:pt x="2450" y="4038"/>
                  </a:lnTo>
                  <a:lnTo>
                    <a:pt x="2548" y="4015"/>
                  </a:lnTo>
                  <a:lnTo>
                    <a:pt x="2645" y="3988"/>
                  </a:lnTo>
                  <a:lnTo>
                    <a:pt x="2740" y="3956"/>
                  </a:lnTo>
                  <a:lnTo>
                    <a:pt x="2833" y="3920"/>
                  </a:lnTo>
                  <a:lnTo>
                    <a:pt x="2923" y="3879"/>
                  </a:lnTo>
                  <a:lnTo>
                    <a:pt x="3011" y="3833"/>
                  </a:lnTo>
                  <a:lnTo>
                    <a:pt x="3096" y="3784"/>
                  </a:lnTo>
                  <a:lnTo>
                    <a:pt x="3179" y="3731"/>
                  </a:lnTo>
                  <a:lnTo>
                    <a:pt x="3259" y="3675"/>
                  </a:lnTo>
                  <a:lnTo>
                    <a:pt x="3336" y="3615"/>
                  </a:lnTo>
                  <a:lnTo>
                    <a:pt x="3410" y="3550"/>
                  </a:lnTo>
                  <a:lnTo>
                    <a:pt x="3481" y="3482"/>
                  </a:lnTo>
                  <a:lnTo>
                    <a:pt x="3549" y="3412"/>
                  </a:lnTo>
                  <a:lnTo>
                    <a:pt x="3612" y="3338"/>
                  </a:lnTo>
                  <a:lnTo>
                    <a:pt x="3673" y="3261"/>
                  </a:lnTo>
                  <a:lnTo>
                    <a:pt x="3730" y="3181"/>
                  </a:lnTo>
                  <a:lnTo>
                    <a:pt x="3783" y="3098"/>
                  </a:lnTo>
                  <a:lnTo>
                    <a:pt x="3832" y="3012"/>
                  </a:lnTo>
                  <a:lnTo>
                    <a:pt x="3877" y="2924"/>
                  </a:lnTo>
                  <a:lnTo>
                    <a:pt x="3918" y="2834"/>
                  </a:lnTo>
                  <a:lnTo>
                    <a:pt x="3954" y="2741"/>
                  </a:lnTo>
                  <a:lnTo>
                    <a:pt x="3987" y="2646"/>
                  </a:lnTo>
                  <a:lnTo>
                    <a:pt x="4014" y="2550"/>
                  </a:lnTo>
                  <a:lnTo>
                    <a:pt x="4037" y="2451"/>
                  </a:lnTo>
                  <a:lnTo>
                    <a:pt x="4054" y="2351"/>
                  </a:lnTo>
                  <a:lnTo>
                    <a:pt x="4068" y="2249"/>
                  </a:lnTo>
                  <a:lnTo>
                    <a:pt x="4075" y="2145"/>
                  </a:lnTo>
                  <a:lnTo>
                    <a:pt x="4078" y="2039"/>
                  </a:lnTo>
                  <a:lnTo>
                    <a:pt x="4075" y="1935"/>
                  </a:lnTo>
                  <a:lnTo>
                    <a:pt x="4068" y="1831"/>
                  </a:lnTo>
                  <a:lnTo>
                    <a:pt x="4054" y="1729"/>
                  </a:lnTo>
                  <a:lnTo>
                    <a:pt x="4037" y="1629"/>
                  </a:lnTo>
                  <a:lnTo>
                    <a:pt x="4014" y="1530"/>
                  </a:lnTo>
                  <a:lnTo>
                    <a:pt x="3987" y="1434"/>
                  </a:lnTo>
                  <a:lnTo>
                    <a:pt x="3954" y="1339"/>
                  </a:lnTo>
                  <a:lnTo>
                    <a:pt x="3918" y="1246"/>
                  </a:lnTo>
                  <a:lnTo>
                    <a:pt x="3877" y="1156"/>
                  </a:lnTo>
                  <a:lnTo>
                    <a:pt x="3832" y="1067"/>
                  </a:lnTo>
                  <a:lnTo>
                    <a:pt x="3783" y="982"/>
                  </a:lnTo>
                  <a:lnTo>
                    <a:pt x="3730" y="899"/>
                  </a:lnTo>
                  <a:lnTo>
                    <a:pt x="3673" y="819"/>
                  </a:lnTo>
                  <a:lnTo>
                    <a:pt x="3612" y="742"/>
                  </a:lnTo>
                  <a:lnTo>
                    <a:pt x="3549" y="668"/>
                  </a:lnTo>
                  <a:lnTo>
                    <a:pt x="3481" y="598"/>
                  </a:lnTo>
                  <a:lnTo>
                    <a:pt x="3410" y="530"/>
                  </a:lnTo>
                  <a:lnTo>
                    <a:pt x="3336" y="465"/>
                  </a:lnTo>
                  <a:lnTo>
                    <a:pt x="3259" y="405"/>
                  </a:lnTo>
                  <a:lnTo>
                    <a:pt x="3179" y="349"/>
                  </a:lnTo>
                  <a:lnTo>
                    <a:pt x="3096" y="296"/>
                  </a:lnTo>
                  <a:lnTo>
                    <a:pt x="3011" y="247"/>
                  </a:lnTo>
                  <a:lnTo>
                    <a:pt x="2923" y="201"/>
                  </a:lnTo>
                  <a:lnTo>
                    <a:pt x="2833" y="160"/>
                  </a:lnTo>
                  <a:lnTo>
                    <a:pt x="2740" y="124"/>
                  </a:lnTo>
                  <a:lnTo>
                    <a:pt x="2645" y="92"/>
                  </a:lnTo>
                  <a:lnTo>
                    <a:pt x="2548" y="65"/>
                  </a:lnTo>
                  <a:lnTo>
                    <a:pt x="2450" y="42"/>
                  </a:lnTo>
                  <a:lnTo>
                    <a:pt x="2350" y="24"/>
                  </a:lnTo>
                  <a:lnTo>
                    <a:pt x="2248" y="10"/>
                  </a:lnTo>
                  <a:lnTo>
                    <a:pt x="2144" y="3"/>
                  </a:lnTo>
                  <a:lnTo>
                    <a:pt x="2039" y="0"/>
                  </a:lnTo>
                  <a:lnTo>
                    <a:pt x="1935" y="3"/>
                  </a:lnTo>
                  <a:lnTo>
                    <a:pt x="1830" y="10"/>
                  </a:lnTo>
                  <a:lnTo>
                    <a:pt x="1728" y="24"/>
                  </a:lnTo>
                  <a:lnTo>
                    <a:pt x="1628" y="42"/>
                  </a:lnTo>
                  <a:lnTo>
                    <a:pt x="1530" y="65"/>
                  </a:lnTo>
                  <a:lnTo>
                    <a:pt x="1433" y="92"/>
                  </a:lnTo>
                  <a:lnTo>
                    <a:pt x="1338" y="124"/>
                  </a:lnTo>
                  <a:lnTo>
                    <a:pt x="1246" y="160"/>
                  </a:lnTo>
                  <a:lnTo>
                    <a:pt x="1155" y="201"/>
                  </a:lnTo>
                  <a:lnTo>
                    <a:pt x="1067" y="247"/>
                  </a:lnTo>
                  <a:lnTo>
                    <a:pt x="981" y="296"/>
                  </a:lnTo>
                  <a:lnTo>
                    <a:pt x="899" y="349"/>
                  </a:lnTo>
                  <a:lnTo>
                    <a:pt x="819" y="405"/>
                  </a:lnTo>
                  <a:lnTo>
                    <a:pt x="742" y="465"/>
                  </a:lnTo>
                  <a:lnTo>
                    <a:pt x="668" y="530"/>
                  </a:lnTo>
                  <a:lnTo>
                    <a:pt x="597" y="598"/>
                  </a:lnTo>
                  <a:lnTo>
                    <a:pt x="530" y="668"/>
                  </a:lnTo>
                  <a:lnTo>
                    <a:pt x="465" y="742"/>
                  </a:lnTo>
                  <a:lnTo>
                    <a:pt x="405" y="819"/>
                  </a:lnTo>
                  <a:lnTo>
                    <a:pt x="349" y="899"/>
                  </a:lnTo>
                  <a:lnTo>
                    <a:pt x="296" y="982"/>
                  </a:lnTo>
                  <a:lnTo>
                    <a:pt x="246" y="1067"/>
                  </a:lnTo>
                  <a:lnTo>
                    <a:pt x="201" y="1156"/>
                  </a:lnTo>
                  <a:lnTo>
                    <a:pt x="160" y="1246"/>
                  </a:lnTo>
                  <a:lnTo>
                    <a:pt x="124" y="1339"/>
                  </a:lnTo>
                  <a:lnTo>
                    <a:pt x="92" y="1434"/>
                  </a:lnTo>
                  <a:lnTo>
                    <a:pt x="65" y="1530"/>
                  </a:lnTo>
                  <a:lnTo>
                    <a:pt x="42" y="1629"/>
                  </a:lnTo>
                  <a:lnTo>
                    <a:pt x="24" y="1729"/>
                  </a:lnTo>
                  <a:lnTo>
                    <a:pt x="10" y="1831"/>
                  </a:lnTo>
                  <a:lnTo>
                    <a:pt x="3" y="1935"/>
                  </a:lnTo>
                  <a:lnTo>
                    <a:pt x="0" y="2039"/>
                  </a:lnTo>
                  <a:lnTo>
                    <a:pt x="3" y="2145"/>
                  </a:lnTo>
                  <a:lnTo>
                    <a:pt x="10" y="2249"/>
                  </a:lnTo>
                  <a:lnTo>
                    <a:pt x="24" y="2351"/>
                  </a:lnTo>
                  <a:lnTo>
                    <a:pt x="42" y="2451"/>
                  </a:lnTo>
                  <a:lnTo>
                    <a:pt x="65" y="2550"/>
                  </a:lnTo>
                  <a:lnTo>
                    <a:pt x="92" y="2646"/>
                  </a:lnTo>
                  <a:lnTo>
                    <a:pt x="124" y="2741"/>
                  </a:lnTo>
                  <a:lnTo>
                    <a:pt x="160" y="2834"/>
                  </a:lnTo>
                  <a:lnTo>
                    <a:pt x="201" y="2924"/>
                  </a:lnTo>
                  <a:lnTo>
                    <a:pt x="246" y="3012"/>
                  </a:lnTo>
                  <a:lnTo>
                    <a:pt x="296" y="3098"/>
                  </a:lnTo>
                  <a:lnTo>
                    <a:pt x="349" y="3181"/>
                  </a:lnTo>
                  <a:lnTo>
                    <a:pt x="405" y="3261"/>
                  </a:lnTo>
                  <a:lnTo>
                    <a:pt x="465" y="3338"/>
                  </a:lnTo>
                  <a:lnTo>
                    <a:pt x="530" y="3412"/>
                  </a:lnTo>
                  <a:lnTo>
                    <a:pt x="597" y="3482"/>
                  </a:lnTo>
                  <a:lnTo>
                    <a:pt x="668" y="3550"/>
                  </a:lnTo>
                  <a:lnTo>
                    <a:pt x="742" y="3615"/>
                  </a:lnTo>
                  <a:lnTo>
                    <a:pt x="819" y="3675"/>
                  </a:lnTo>
                  <a:lnTo>
                    <a:pt x="899" y="3731"/>
                  </a:lnTo>
                  <a:lnTo>
                    <a:pt x="981" y="3784"/>
                  </a:lnTo>
                  <a:lnTo>
                    <a:pt x="1067" y="3833"/>
                  </a:lnTo>
                  <a:lnTo>
                    <a:pt x="1155" y="3879"/>
                  </a:lnTo>
                  <a:lnTo>
                    <a:pt x="1246" y="3920"/>
                  </a:lnTo>
                  <a:lnTo>
                    <a:pt x="1338" y="3956"/>
                  </a:lnTo>
                  <a:lnTo>
                    <a:pt x="1433" y="3988"/>
                  </a:lnTo>
                  <a:lnTo>
                    <a:pt x="1530" y="4015"/>
                  </a:lnTo>
                  <a:lnTo>
                    <a:pt x="1628" y="4038"/>
                  </a:lnTo>
                  <a:lnTo>
                    <a:pt x="1728" y="4056"/>
                  </a:lnTo>
                  <a:lnTo>
                    <a:pt x="1830" y="4070"/>
                  </a:lnTo>
                  <a:lnTo>
                    <a:pt x="1935" y="4077"/>
                  </a:lnTo>
                  <a:lnTo>
                    <a:pt x="2039" y="4080"/>
                  </a:lnTo>
                  <a:close/>
                </a:path>
              </a:pathLst>
            </a:custGeom>
            <a:solidFill>
              <a:srgbClr val="4796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5321300" y="3321050"/>
              <a:ext cx="215900" cy="198438"/>
            </a:xfrm>
            <a:custGeom>
              <a:avLst/>
              <a:gdLst>
                <a:gd name="T0" fmla="*/ 448 w 2038"/>
                <a:gd name="T1" fmla="*/ 1873 h 1873"/>
                <a:gd name="T2" fmla="*/ 210 w 2038"/>
                <a:gd name="T3" fmla="*/ 441 h 1873"/>
                <a:gd name="T4" fmla="*/ 150 w 2038"/>
                <a:gd name="T5" fmla="*/ 428 h 1873"/>
                <a:gd name="T6" fmla="*/ 99 w 2038"/>
                <a:gd name="T7" fmla="*/ 404 h 1873"/>
                <a:gd name="T8" fmla="*/ 57 w 2038"/>
                <a:gd name="T9" fmla="*/ 370 h 1873"/>
                <a:gd name="T10" fmla="*/ 26 w 2038"/>
                <a:gd name="T11" fmla="*/ 327 h 1873"/>
                <a:gd name="T12" fmla="*/ 6 w 2038"/>
                <a:gd name="T13" fmla="*/ 276 h 1873"/>
                <a:gd name="T14" fmla="*/ 0 w 2038"/>
                <a:gd name="T15" fmla="*/ 221 h 1873"/>
                <a:gd name="T16" fmla="*/ 6 w 2038"/>
                <a:gd name="T17" fmla="*/ 165 h 1873"/>
                <a:gd name="T18" fmla="*/ 26 w 2038"/>
                <a:gd name="T19" fmla="*/ 114 h 1873"/>
                <a:gd name="T20" fmla="*/ 58 w 2038"/>
                <a:gd name="T21" fmla="*/ 71 h 1873"/>
                <a:gd name="T22" fmla="*/ 101 w 2038"/>
                <a:gd name="T23" fmla="*/ 37 h 1873"/>
                <a:gd name="T24" fmla="*/ 154 w 2038"/>
                <a:gd name="T25" fmla="*/ 13 h 1873"/>
                <a:gd name="T26" fmla="*/ 215 w 2038"/>
                <a:gd name="T27" fmla="*/ 1 h 1873"/>
                <a:gd name="T28" fmla="*/ 282 w 2038"/>
                <a:gd name="T29" fmla="*/ 2 h 1873"/>
                <a:gd name="T30" fmla="*/ 341 w 2038"/>
                <a:gd name="T31" fmla="*/ 17 h 1873"/>
                <a:gd name="T32" fmla="*/ 391 w 2038"/>
                <a:gd name="T33" fmla="*/ 43 h 1873"/>
                <a:gd name="T34" fmla="*/ 431 w 2038"/>
                <a:gd name="T35" fmla="*/ 78 h 1873"/>
                <a:gd name="T36" fmla="*/ 460 w 2038"/>
                <a:gd name="T37" fmla="*/ 123 h 1873"/>
                <a:gd name="T38" fmla="*/ 476 w 2038"/>
                <a:gd name="T39" fmla="*/ 175 h 1873"/>
                <a:gd name="T40" fmla="*/ 480 w 2038"/>
                <a:gd name="T41" fmla="*/ 254 h 1873"/>
                <a:gd name="T42" fmla="*/ 465 w 2038"/>
                <a:gd name="T43" fmla="*/ 307 h 1873"/>
                <a:gd name="T44" fmla="*/ 438 w 2038"/>
                <a:gd name="T45" fmla="*/ 353 h 1873"/>
                <a:gd name="T46" fmla="*/ 400 w 2038"/>
                <a:gd name="T47" fmla="*/ 392 h 1873"/>
                <a:gd name="T48" fmla="*/ 352 w 2038"/>
                <a:gd name="T49" fmla="*/ 420 h 1873"/>
                <a:gd name="T50" fmla="*/ 292 w 2038"/>
                <a:gd name="T51" fmla="*/ 438 h 1873"/>
                <a:gd name="T52" fmla="*/ 2038 w 2038"/>
                <a:gd name="T53" fmla="*/ 1873 h 1873"/>
                <a:gd name="T54" fmla="*/ 1585 w 2038"/>
                <a:gd name="T55" fmla="*/ 1153 h 1873"/>
                <a:gd name="T56" fmla="*/ 1562 w 2038"/>
                <a:gd name="T57" fmla="*/ 1059 h 1873"/>
                <a:gd name="T58" fmla="*/ 1534 w 2038"/>
                <a:gd name="T59" fmla="*/ 1005 h 1873"/>
                <a:gd name="T60" fmla="*/ 1493 w 2038"/>
                <a:gd name="T61" fmla="*/ 964 h 1873"/>
                <a:gd name="T62" fmla="*/ 1441 w 2038"/>
                <a:gd name="T63" fmla="*/ 936 h 1873"/>
                <a:gd name="T64" fmla="*/ 1377 w 2038"/>
                <a:gd name="T65" fmla="*/ 925 h 1873"/>
                <a:gd name="T66" fmla="*/ 1283 w 2038"/>
                <a:gd name="T67" fmla="*/ 938 h 1873"/>
                <a:gd name="T68" fmla="*/ 1209 w 2038"/>
                <a:gd name="T69" fmla="*/ 985 h 1873"/>
                <a:gd name="T70" fmla="*/ 1160 w 2038"/>
                <a:gd name="T71" fmla="*/ 1052 h 1873"/>
                <a:gd name="T72" fmla="*/ 1139 w 2038"/>
                <a:gd name="T73" fmla="*/ 1115 h 1873"/>
                <a:gd name="T74" fmla="*/ 691 w 2038"/>
                <a:gd name="T75" fmla="*/ 1873 h 1873"/>
                <a:gd name="T76" fmla="*/ 692 w 2038"/>
                <a:gd name="T77" fmla="*/ 1599 h 1873"/>
                <a:gd name="T78" fmla="*/ 694 w 2038"/>
                <a:gd name="T79" fmla="*/ 1050 h 1873"/>
                <a:gd name="T80" fmla="*/ 692 w 2038"/>
                <a:gd name="T81" fmla="*/ 632 h 1873"/>
                <a:gd name="T82" fmla="*/ 1143 w 2038"/>
                <a:gd name="T83" fmla="*/ 783 h 1873"/>
                <a:gd name="T84" fmla="*/ 1195 w 2038"/>
                <a:gd name="T85" fmla="*/ 712 h 1873"/>
                <a:gd name="T86" fmla="*/ 1287 w 2038"/>
                <a:gd name="T87" fmla="*/ 647 h 1873"/>
                <a:gd name="T88" fmla="*/ 1363 w 2038"/>
                <a:gd name="T89" fmla="*/ 614 h 1873"/>
                <a:gd name="T90" fmla="*/ 1453 w 2038"/>
                <a:gd name="T91" fmla="*/ 594 h 1873"/>
                <a:gd name="T92" fmla="*/ 1561 w 2038"/>
                <a:gd name="T93" fmla="*/ 588 h 1873"/>
                <a:gd name="T94" fmla="*/ 1686 w 2038"/>
                <a:gd name="T95" fmla="*/ 608 h 1873"/>
                <a:gd name="T96" fmla="*/ 1797 w 2038"/>
                <a:gd name="T97" fmla="*/ 654 h 1873"/>
                <a:gd name="T98" fmla="*/ 1893 w 2038"/>
                <a:gd name="T99" fmla="*/ 729 h 1873"/>
                <a:gd name="T100" fmla="*/ 1967 w 2038"/>
                <a:gd name="T101" fmla="*/ 833 h 1873"/>
                <a:gd name="T102" fmla="*/ 2017 w 2038"/>
                <a:gd name="T103" fmla="*/ 966 h 1873"/>
                <a:gd name="T104" fmla="*/ 2037 w 2038"/>
                <a:gd name="T105" fmla="*/ 1129 h 1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38" h="1873">
                  <a:moveTo>
                    <a:pt x="448" y="1873"/>
                  </a:moveTo>
                  <a:lnTo>
                    <a:pt x="51" y="1873"/>
                  </a:lnTo>
                  <a:lnTo>
                    <a:pt x="51" y="601"/>
                  </a:lnTo>
                  <a:lnTo>
                    <a:pt x="448" y="601"/>
                  </a:lnTo>
                  <a:lnTo>
                    <a:pt x="448" y="1873"/>
                  </a:lnTo>
                  <a:close/>
                  <a:moveTo>
                    <a:pt x="239" y="442"/>
                  </a:moveTo>
                  <a:lnTo>
                    <a:pt x="239" y="442"/>
                  </a:lnTo>
                  <a:lnTo>
                    <a:pt x="237" y="442"/>
                  </a:lnTo>
                  <a:lnTo>
                    <a:pt x="224" y="442"/>
                  </a:lnTo>
                  <a:lnTo>
                    <a:pt x="210" y="441"/>
                  </a:lnTo>
                  <a:lnTo>
                    <a:pt x="198" y="439"/>
                  </a:lnTo>
                  <a:lnTo>
                    <a:pt x="185" y="438"/>
                  </a:lnTo>
                  <a:lnTo>
                    <a:pt x="173" y="434"/>
                  </a:lnTo>
                  <a:lnTo>
                    <a:pt x="161" y="431"/>
                  </a:lnTo>
                  <a:lnTo>
                    <a:pt x="150" y="428"/>
                  </a:lnTo>
                  <a:lnTo>
                    <a:pt x="139" y="424"/>
                  </a:lnTo>
                  <a:lnTo>
                    <a:pt x="128" y="420"/>
                  </a:lnTo>
                  <a:lnTo>
                    <a:pt x="117" y="416"/>
                  </a:lnTo>
                  <a:lnTo>
                    <a:pt x="108" y="409"/>
                  </a:lnTo>
                  <a:lnTo>
                    <a:pt x="99" y="404"/>
                  </a:lnTo>
                  <a:lnTo>
                    <a:pt x="89" y="398"/>
                  </a:lnTo>
                  <a:lnTo>
                    <a:pt x="80" y="392"/>
                  </a:lnTo>
                  <a:lnTo>
                    <a:pt x="72" y="384"/>
                  </a:lnTo>
                  <a:lnTo>
                    <a:pt x="64" y="377"/>
                  </a:lnTo>
                  <a:lnTo>
                    <a:pt x="57" y="370"/>
                  </a:lnTo>
                  <a:lnTo>
                    <a:pt x="50" y="362"/>
                  </a:lnTo>
                  <a:lnTo>
                    <a:pt x="42" y="353"/>
                  </a:lnTo>
                  <a:lnTo>
                    <a:pt x="36" y="345"/>
                  </a:lnTo>
                  <a:lnTo>
                    <a:pt x="31" y="335"/>
                  </a:lnTo>
                  <a:lnTo>
                    <a:pt x="26" y="327"/>
                  </a:lnTo>
                  <a:lnTo>
                    <a:pt x="21" y="317"/>
                  </a:lnTo>
                  <a:lnTo>
                    <a:pt x="16" y="307"/>
                  </a:lnTo>
                  <a:lnTo>
                    <a:pt x="12" y="297"/>
                  </a:lnTo>
                  <a:lnTo>
                    <a:pt x="9" y="287"/>
                  </a:lnTo>
                  <a:lnTo>
                    <a:pt x="6" y="276"/>
                  </a:lnTo>
                  <a:lnTo>
                    <a:pt x="4" y="266"/>
                  </a:lnTo>
                  <a:lnTo>
                    <a:pt x="2" y="255"/>
                  </a:lnTo>
                  <a:lnTo>
                    <a:pt x="1" y="244"/>
                  </a:lnTo>
                  <a:lnTo>
                    <a:pt x="0" y="232"/>
                  </a:lnTo>
                  <a:lnTo>
                    <a:pt x="0" y="221"/>
                  </a:lnTo>
                  <a:lnTo>
                    <a:pt x="0" y="210"/>
                  </a:lnTo>
                  <a:lnTo>
                    <a:pt x="1" y="198"/>
                  </a:lnTo>
                  <a:lnTo>
                    <a:pt x="2" y="187"/>
                  </a:lnTo>
                  <a:lnTo>
                    <a:pt x="4" y="175"/>
                  </a:lnTo>
                  <a:lnTo>
                    <a:pt x="6" y="165"/>
                  </a:lnTo>
                  <a:lnTo>
                    <a:pt x="9" y="154"/>
                  </a:lnTo>
                  <a:lnTo>
                    <a:pt x="12" y="144"/>
                  </a:lnTo>
                  <a:lnTo>
                    <a:pt x="16" y="134"/>
                  </a:lnTo>
                  <a:lnTo>
                    <a:pt x="22" y="123"/>
                  </a:lnTo>
                  <a:lnTo>
                    <a:pt x="26" y="114"/>
                  </a:lnTo>
                  <a:lnTo>
                    <a:pt x="32" y="104"/>
                  </a:lnTo>
                  <a:lnTo>
                    <a:pt x="37" y="96"/>
                  </a:lnTo>
                  <a:lnTo>
                    <a:pt x="44" y="88"/>
                  </a:lnTo>
                  <a:lnTo>
                    <a:pt x="51" y="79"/>
                  </a:lnTo>
                  <a:lnTo>
                    <a:pt x="58" y="71"/>
                  </a:lnTo>
                  <a:lnTo>
                    <a:pt x="65" y="64"/>
                  </a:lnTo>
                  <a:lnTo>
                    <a:pt x="74" y="56"/>
                  </a:lnTo>
                  <a:lnTo>
                    <a:pt x="83" y="49"/>
                  </a:lnTo>
                  <a:lnTo>
                    <a:pt x="91" y="43"/>
                  </a:lnTo>
                  <a:lnTo>
                    <a:pt x="101" y="37"/>
                  </a:lnTo>
                  <a:lnTo>
                    <a:pt x="111" y="31"/>
                  </a:lnTo>
                  <a:lnTo>
                    <a:pt x="121" y="26"/>
                  </a:lnTo>
                  <a:lnTo>
                    <a:pt x="132" y="21"/>
                  </a:lnTo>
                  <a:lnTo>
                    <a:pt x="142" y="17"/>
                  </a:lnTo>
                  <a:lnTo>
                    <a:pt x="154" y="13"/>
                  </a:lnTo>
                  <a:lnTo>
                    <a:pt x="165" y="10"/>
                  </a:lnTo>
                  <a:lnTo>
                    <a:pt x="178" y="7"/>
                  </a:lnTo>
                  <a:lnTo>
                    <a:pt x="189" y="4"/>
                  </a:lnTo>
                  <a:lnTo>
                    <a:pt x="203" y="2"/>
                  </a:lnTo>
                  <a:lnTo>
                    <a:pt x="215" y="1"/>
                  </a:lnTo>
                  <a:lnTo>
                    <a:pt x="229" y="0"/>
                  </a:lnTo>
                  <a:lnTo>
                    <a:pt x="242" y="0"/>
                  </a:lnTo>
                  <a:lnTo>
                    <a:pt x="256" y="0"/>
                  </a:lnTo>
                  <a:lnTo>
                    <a:pt x="269" y="1"/>
                  </a:lnTo>
                  <a:lnTo>
                    <a:pt x="282" y="2"/>
                  </a:lnTo>
                  <a:lnTo>
                    <a:pt x="294" y="4"/>
                  </a:lnTo>
                  <a:lnTo>
                    <a:pt x="307" y="7"/>
                  </a:lnTo>
                  <a:lnTo>
                    <a:pt x="318" y="10"/>
                  </a:lnTo>
                  <a:lnTo>
                    <a:pt x="330" y="13"/>
                  </a:lnTo>
                  <a:lnTo>
                    <a:pt x="341" y="17"/>
                  </a:lnTo>
                  <a:lnTo>
                    <a:pt x="352" y="21"/>
                  </a:lnTo>
                  <a:lnTo>
                    <a:pt x="362" y="26"/>
                  </a:lnTo>
                  <a:lnTo>
                    <a:pt x="372" y="31"/>
                  </a:lnTo>
                  <a:lnTo>
                    <a:pt x="382" y="37"/>
                  </a:lnTo>
                  <a:lnTo>
                    <a:pt x="391" y="43"/>
                  </a:lnTo>
                  <a:lnTo>
                    <a:pt x="399" y="49"/>
                  </a:lnTo>
                  <a:lnTo>
                    <a:pt x="408" y="56"/>
                  </a:lnTo>
                  <a:lnTo>
                    <a:pt x="416" y="63"/>
                  </a:lnTo>
                  <a:lnTo>
                    <a:pt x="423" y="71"/>
                  </a:lnTo>
                  <a:lnTo>
                    <a:pt x="431" y="78"/>
                  </a:lnTo>
                  <a:lnTo>
                    <a:pt x="437" y="87"/>
                  </a:lnTo>
                  <a:lnTo>
                    <a:pt x="443" y="96"/>
                  </a:lnTo>
                  <a:lnTo>
                    <a:pt x="449" y="104"/>
                  </a:lnTo>
                  <a:lnTo>
                    <a:pt x="455" y="114"/>
                  </a:lnTo>
                  <a:lnTo>
                    <a:pt x="460" y="123"/>
                  </a:lnTo>
                  <a:lnTo>
                    <a:pt x="464" y="134"/>
                  </a:lnTo>
                  <a:lnTo>
                    <a:pt x="468" y="143"/>
                  </a:lnTo>
                  <a:lnTo>
                    <a:pt x="471" y="153"/>
                  </a:lnTo>
                  <a:lnTo>
                    <a:pt x="474" y="165"/>
                  </a:lnTo>
                  <a:lnTo>
                    <a:pt x="476" y="175"/>
                  </a:lnTo>
                  <a:lnTo>
                    <a:pt x="481" y="197"/>
                  </a:lnTo>
                  <a:lnTo>
                    <a:pt x="482" y="221"/>
                  </a:lnTo>
                  <a:lnTo>
                    <a:pt x="482" y="232"/>
                  </a:lnTo>
                  <a:lnTo>
                    <a:pt x="481" y="244"/>
                  </a:lnTo>
                  <a:lnTo>
                    <a:pt x="480" y="254"/>
                  </a:lnTo>
                  <a:lnTo>
                    <a:pt x="477" y="266"/>
                  </a:lnTo>
                  <a:lnTo>
                    <a:pt x="475" y="276"/>
                  </a:lnTo>
                  <a:lnTo>
                    <a:pt x="472" y="287"/>
                  </a:lnTo>
                  <a:lnTo>
                    <a:pt x="469" y="297"/>
                  </a:lnTo>
                  <a:lnTo>
                    <a:pt x="465" y="307"/>
                  </a:lnTo>
                  <a:lnTo>
                    <a:pt x="461" y="317"/>
                  </a:lnTo>
                  <a:lnTo>
                    <a:pt x="456" y="326"/>
                  </a:lnTo>
                  <a:lnTo>
                    <a:pt x="450" y="335"/>
                  </a:lnTo>
                  <a:lnTo>
                    <a:pt x="444" y="345"/>
                  </a:lnTo>
                  <a:lnTo>
                    <a:pt x="438" y="353"/>
                  </a:lnTo>
                  <a:lnTo>
                    <a:pt x="432" y="362"/>
                  </a:lnTo>
                  <a:lnTo>
                    <a:pt x="424" y="370"/>
                  </a:lnTo>
                  <a:lnTo>
                    <a:pt x="417" y="377"/>
                  </a:lnTo>
                  <a:lnTo>
                    <a:pt x="409" y="384"/>
                  </a:lnTo>
                  <a:lnTo>
                    <a:pt x="400" y="392"/>
                  </a:lnTo>
                  <a:lnTo>
                    <a:pt x="391" y="398"/>
                  </a:lnTo>
                  <a:lnTo>
                    <a:pt x="382" y="404"/>
                  </a:lnTo>
                  <a:lnTo>
                    <a:pt x="372" y="409"/>
                  </a:lnTo>
                  <a:lnTo>
                    <a:pt x="362" y="415"/>
                  </a:lnTo>
                  <a:lnTo>
                    <a:pt x="352" y="420"/>
                  </a:lnTo>
                  <a:lnTo>
                    <a:pt x="340" y="424"/>
                  </a:lnTo>
                  <a:lnTo>
                    <a:pt x="329" y="428"/>
                  </a:lnTo>
                  <a:lnTo>
                    <a:pt x="317" y="431"/>
                  </a:lnTo>
                  <a:lnTo>
                    <a:pt x="305" y="434"/>
                  </a:lnTo>
                  <a:lnTo>
                    <a:pt x="292" y="438"/>
                  </a:lnTo>
                  <a:lnTo>
                    <a:pt x="280" y="439"/>
                  </a:lnTo>
                  <a:lnTo>
                    <a:pt x="267" y="441"/>
                  </a:lnTo>
                  <a:lnTo>
                    <a:pt x="254" y="442"/>
                  </a:lnTo>
                  <a:lnTo>
                    <a:pt x="239" y="442"/>
                  </a:lnTo>
                  <a:close/>
                  <a:moveTo>
                    <a:pt x="2038" y="1873"/>
                  </a:moveTo>
                  <a:lnTo>
                    <a:pt x="2038" y="1873"/>
                  </a:lnTo>
                  <a:lnTo>
                    <a:pt x="1588" y="1873"/>
                  </a:lnTo>
                  <a:lnTo>
                    <a:pt x="1588" y="1215"/>
                  </a:lnTo>
                  <a:lnTo>
                    <a:pt x="1587" y="1183"/>
                  </a:lnTo>
                  <a:lnTo>
                    <a:pt x="1585" y="1153"/>
                  </a:lnTo>
                  <a:lnTo>
                    <a:pt x="1581" y="1124"/>
                  </a:lnTo>
                  <a:lnTo>
                    <a:pt x="1574" y="1097"/>
                  </a:lnTo>
                  <a:lnTo>
                    <a:pt x="1571" y="1084"/>
                  </a:lnTo>
                  <a:lnTo>
                    <a:pt x="1567" y="1072"/>
                  </a:lnTo>
                  <a:lnTo>
                    <a:pt x="1562" y="1059"/>
                  </a:lnTo>
                  <a:lnTo>
                    <a:pt x="1558" y="1048"/>
                  </a:lnTo>
                  <a:lnTo>
                    <a:pt x="1552" y="1036"/>
                  </a:lnTo>
                  <a:lnTo>
                    <a:pt x="1546" y="1025"/>
                  </a:lnTo>
                  <a:lnTo>
                    <a:pt x="1540" y="1015"/>
                  </a:lnTo>
                  <a:lnTo>
                    <a:pt x="1534" y="1005"/>
                  </a:lnTo>
                  <a:lnTo>
                    <a:pt x="1526" y="996"/>
                  </a:lnTo>
                  <a:lnTo>
                    <a:pt x="1518" y="987"/>
                  </a:lnTo>
                  <a:lnTo>
                    <a:pt x="1511" y="979"/>
                  </a:lnTo>
                  <a:lnTo>
                    <a:pt x="1501" y="971"/>
                  </a:lnTo>
                  <a:lnTo>
                    <a:pt x="1493" y="964"/>
                  </a:lnTo>
                  <a:lnTo>
                    <a:pt x="1484" y="957"/>
                  </a:lnTo>
                  <a:lnTo>
                    <a:pt x="1473" y="951"/>
                  </a:lnTo>
                  <a:lnTo>
                    <a:pt x="1463" y="946"/>
                  </a:lnTo>
                  <a:lnTo>
                    <a:pt x="1453" y="941"/>
                  </a:lnTo>
                  <a:lnTo>
                    <a:pt x="1441" y="936"/>
                  </a:lnTo>
                  <a:lnTo>
                    <a:pt x="1429" y="933"/>
                  </a:lnTo>
                  <a:lnTo>
                    <a:pt x="1416" y="930"/>
                  </a:lnTo>
                  <a:lnTo>
                    <a:pt x="1404" y="928"/>
                  </a:lnTo>
                  <a:lnTo>
                    <a:pt x="1390" y="926"/>
                  </a:lnTo>
                  <a:lnTo>
                    <a:pt x="1377" y="925"/>
                  </a:lnTo>
                  <a:lnTo>
                    <a:pt x="1362" y="925"/>
                  </a:lnTo>
                  <a:lnTo>
                    <a:pt x="1341" y="926"/>
                  </a:lnTo>
                  <a:lnTo>
                    <a:pt x="1320" y="928"/>
                  </a:lnTo>
                  <a:lnTo>
                    <a:pt x="1301" y="932"/>
                  </a:lnTo>
                  <a:lnTo>
                    <a:pt x="1283" y="938"/>
                  </a:lnTo>
                  <a:lnTo>
                    <a:pt x="1266" y="946"/>
                  </a:lnTo>
                  <a:lnTo>
                    <a:pt x="1251" y="954"/>
                  </a:lnTo>
                  <a:lnTo>
                    <a:pt x="1235" y="963"/>
                  </a:lnTo>
                  <a:lnTo>
                    <a:pt x="1222" y="974"/>
                  </a:lnTo>
                  <a:lnTo>
                    <a:pt x="1209" y="985"/>
                  </a:lnTo>
                  <a:lnTo>
                    <a:pt x="1198" y="998"/>
                  </a:lnTo>
                  <a:lnTo>
                    <a:pt x="1187" y="1010"/>
                  </a:lnTo>
                  <a:lnTo>
                    <a:pt x="1177" y="1024"/>
                  </a:lnTo>
                  <a:lnTo>
                    <a:pt x="1168" y="1038"/>
                  </a:lnTo>
                  <a:lnTo>
                    <a:pt x="1160" y="1052"/>
                  </a:lnTo>
                  <a:lnTo>
                    <a:pt x="1153" y="1066"/>
                  </a:lnTo>
                  <a:lnTo>
                    <a:pt x="1148" y="1081"/>
                  </a:lnTo>
                  <a:lnTo>
                    <a:pt x="1143" y="1091"/>
                  </a:lnTo>
                  <a:lnTo>
                    <a:pt x="1140" y="1103"/>
                  </a:lnTo>
                  <a:lnTo>
                    <a:pt x="1139" y="1115"/>
                  </a:lnTo>
                  <a:lnTo>
                    <a:pt x="1138" y="1129"/>
                  </a:lnTo>
                  <a:lnTo>
                    <a:pt x="1137" y="1156"/>
                  </a:lnTo>
                  <a:lnTo>
                    <a:pt x="1137" y="1185"/>
                  </a:lnTo>
                  <a:lnTo>
                    <a:pt x="1137" y="1873"/>
                  </a:lnTo>
                  <a:lnTo>
                    <a:pt x="691" y="1873"/>
                  </a:lnTo>
                  <a:lnTo>
                    <a:pt x="691" y="1860"/>
                  </a:lnTo>
                  <a:lnTo>
                    <a:pt x="691" y="1823"/>
                  </a:lnTo>
                  <a:lnTo>
                    <a:pt x="692" y="1765"/>
                  </a:lnTo>
                  <a:lnTo>
                    <a:pt x="692" y="1689"/>
                  </a:lnTo>
                  <a:lnTo>
                    <a:pt x="692" y="1599"/>
                  </a:lnTo>
                  <a:lnTo>
                    <a:pt x="693" y="1498"/>
                  </a:lnTo>
                  <a:lnTo>
                    <a:pt x="693" y="1390"/>
                  </a:lnTo>
                  <a:lnTo>
                    <a:pt x="693" y="1277"/>
                  </a:lnTo>
                  <a:lnTo>
                    <a:pt x="693" y="1162"/>
                  </a:lnTo>
                  <a:lnTo>
                    <a:pt x="694" y="1050"/>
                  </a:lnTo>
                  <a:lnTo>
                    <a:pt x="694" y="942"/>
                  </a:lnTo>
                  <a:lnTo>
                    <a:pt x="693" y="845"/>
                  </a:lnTo>
                  <a:lnTo>
                    <a:pt x="693" y="757"/>
                  </a:lnTo>
                  <a:lnTo>
                    <a:pt x="693" y="686"/>
                  </a:lnTo>
                  <a:lnTo>
                    <a:pt x="692" y="632"/>
                  </a:lnTo>
                  <a:lnTo>
                    <a:pt x="691" y="601"/>
                  </a:lnTo>
                  <a:lnTo>
                    <a:pt x="1137" y="601"/>
                  </a:lnTo>
                  <a:lnTo>
                    <a:pt x="1137" y="801"/>
                  </a:lnTo>
                  <a:lnTo>
                    <a:pt x="1140" y="793"/>
                  </a:lnTo>
                  <a:lnTo>
                    <a:pt x="1143" y="783"/>
                  </a:lnTo>
                  <a:lnTo>
                    <a:pt x="1148" y="775"/>
                  </a:lnTo>
                  <a:lnTo>
                    <a:pt x="1153" y="766"/>
                  </a:lnTo>
                  <a:lnTo>
                    <a:pt x="1164" y="749"/>
                  </a:lnTo>
                  <a:lnTo>
                    <a:pt x="1179" y="730"/>
                  </a:lnTo>
                  <a:lnTo>
                    <a:pt x="1195" y="712"/>
                  </a:lnTo>
                  <a:lnTo>
                    <a:pt x="1214" y="695"/>
                  </a:lnTo>
                  <a:lnTo>
                    <a:pt x="1236" y="678"/>
                  </a:lnTo>
                  <a:lnTo>
                    <a:pt x="1260" y="661"/>
                  </a:lnTo>
                  <a:lnTo>
                    <a:pt x="1274" y="654"/>
                  </a:lnTo>
                  <a:lnTo>
                    <a:pt x="1287" y="647"/>
                  </a:lnTo>
                  <a:lnTo>
                    <a:pt x="1301" y="639"/>
                  </a:lnTo>
                  <a:lnTo>
                    <a:pt x="1315" y="632"/>
                  </a:lnTo>
                  <a:lnTo>
                    <a:pt x="1331" y="626"/>
                  </a:lnTo>
                  <a:lnTo>
                    <a:pt x="1346" y="620"/>
                  </a:lnTo>
                  <a:lnTo>
                    <a:pt x="1363" y="614"/>
                  </a:lnTo>
                  <a:lnTo>
                    <a:pt x="1380" y="609"/>
                  </a:lnTo>
                  <a:lnTo>
                    <a:pt x="1397" y="604"/>
                  </a:lnTo>
                  <a:lnTo>
                    <a:pt x="1415" y="601"/>
                  </a:lnTo>
                  <a:lnTo>
                    <a:pt x="1434" y="597"/>
                  </a:lnTo>
                  <a:lnTo>
                    <a:pt x="1453" y="594"/>
                  </a:lnTo>
                  <a:lnTo>
                    <a:pt x="1472" y="592"/>
                  </a:lnTo>
                  <a:lnTo>
                    <a:pt x="1492" y="590"/>
                  </a:lnTo>
                  <a:lnTo>
                    <a:pt x="1513" y="588"/>
                  </a:lnTo>
                  <a:lnTo>
                    <a:pt x="1534" y="588"/>
                  </a:lnTo>
                  <a:lnTo>
                    <a:pt x="1561" y="588"/>
                  </a:lnTo>
                  <a:lnTo>
                    <a:pt x="1587" y="591"/>
                  </a:lnTo>
                  <a:lnTo>
                    <a:pt x="1612" y="594"/>
                  </a:lnTo>
                  <a:lnTo>
                    <a:pt x="1637" y="597"/>
                  </a:lnTo>
                  <a:lnTo>
                    <a:pt x="1662" y="602"/>
                  </a:lnTo>
                  <a:lnTo>
                    <a:pt x="1686" y="608"/>
                  </a:lnTo>
                  <a:lnTo>
                    <a:pt x="1710" y="614"/>
                  </a:lnTo>
                  <a:lnTo>
                    <a:pt x="1732" y="623"/>
                  </a:lnTo>
                  <a:lnTo>
                    <a:pt x="1754" y="632"/>
                  </a:lnTo>
                  <a:lnTo>
                    <a:pt x="1776" y="643"/>
                  </a:lnTo>
                  <a:lnTo>
                    <a:pt x="1797" y="654"/>
                  </a:lnTo>
                  <a:lnTo>
                    <a:pt x="1818" y="668"/>
                  </a:lnTo>
                  <a:lnTo>
                    <a:pt x="1838" y="681"/>
                  </a:lnTo>
                  <a:lnTo>
                    <a:pt x="1856" y="696"/>
                  </a:lnTo>
                  <a:lnTo>
                    <a:pt x="1875" y="712"/>
                  </a:lnTo>
                  <a:lnTo>
                    <a:pt x="1893" y="729"/>
                  </a:lnTo>
                  <a:lnTo>
                    <a:pt x="1908" y="748"/>
                  </a:lnTo>
                  <a:lnTo>
                    <a:pt x="1925" y="768"/>
                  </a:lnTo>
                  <a:lnTo>
                    <a:pt x="1940" y="788"/>
                  </a:lnTo>
                  <a:lnTo>
                    <a:pt x="1953" y="810"/>
                  </a:lnTo>
                  <a:lnTo>
                    <a:pt x="1967" y="833"/>
                  </a:lnTo>
                  <a:lnTo>
                    <a:pt x="1978" y="857"/>
                  </a:lnTo>
                  <a:lnTo>
                    <a:pt x="1989" y="882"/>
                  </a:lnTo>
                  <a:lnTo>
                    <a:pt x="1999" y="909"/>
                  </a:lnTo>
                  <a:lnTo>
                    <a:pt x="2008" y="937"/>
                  </a:lnTo>
                  <a:lnTo>
                    <a:pt x="2017" y="966"/>
                  </a:lnTo>
                  <a:lnTo>
                    <a:pt x="2023" y="997"/>
                  </a:lnTo>
                  <a:lnTo>
                    <a:pt x="2028" y="1028"/>
                  </a:lnTo>
                  <a:lnTo>
                    <a:pt x="2033" y="1060"/>
                  </a:lnTo>
                  <a:lnTo>
                    <a:pt x="2036" y="1094"/>
                  </a:lnTo>
                  <a:lnTo>
                    <a:pt x="2037" y="1129"/>
                  </a:lnTo>
                  <a:lnTo>
                    <a:pt x="2038" y="1165"/>
                  </a:lnTo>
                  <a:lnTo>
                    <a:pt x="2038" y="1873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n-lt"/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6543675" y="3213100"/>
              <a:ext cx="431800" cy="431800"/>
            </a:xfrm>
            <a:custGeom>
              <a:avLst/>
              <a:gdLst>
                <a:gd name="T0" fmla="*/ 2248 w 4078"/>
                <a:gd name="T1" fmla="*/ 4070 h 4080"/>
                <a:gd name="T2" fmla="*/ 2548 w 4078"/>
                <a:gd name="T3" fmla="*/ 4015 h 4080"/>
                <a:gd name="T4" fmla="*/ 2832 w 4078"/>
                <a:gd name="T5" fmla="*/ 3920 h 4080"/>
                <a:gd name="T6" fmla="*/ 3097 w 4078"/>
                <a:gd name="T7" fmla="*/ 3784 h 4080"/>
                <a:gd name="T8" fmla="*/ 3336 w 4078"/>
                <a:gd name="T9" fmla="*/ 3615 h 4080"/>
                <a:gd name="T10" fmla="*/ 3548 w 4078"/>
                <a:gd name="T11" fmla="*/ 3412 h 4080"/>
                <a:gd name="T12" fmla="*/ 3729 w 4078"/>
                <a:gd name="T13" fmla="*/ 3181 h 4080"/>
                <a:gd name="T14" fmla="*/ 3877 w 4078"/>
                <a:gd name="T15" fmla="*/ 2924 h 4080"/>
                <a:gd name="T16" fmla="*/ 3986 w 4078"/>
                <a:gd name="T17" fmla="*/ 2646 h 4080"/>
                <a:gd name="T18" fmla="*/ 4054 w 4078"/>
                <a:gd name="T19" fmla="*/ 2351 h 4080"/>
                <a:gd name="T20" fmla="*/ 4078 w 4078"/>
                <a:gd name="T21" fmla="*/ 2039 h 4080"/>
                <a:gd name="T22" fmla="*/ 4054 w 4078"/>
                <a:gd name="T23" fmla="*/ 1729 h 4080"/>
                <a:gd name="T24" fmla="*/ 3986 w 4078"/>
                <a:gd name="T25" fmla="*/ 1434 h 4080"/>
                <a:gd name="T26" fmla="*/ 3877 w 4078"/>
                <a:gd name="T27" fmla="*/ 1156 h 4080"/>
                <a:gd name="T28" fmla="*/ 3729 w 4078"/>
                <a:gd name="T29" fmla="*/ 899 h 4080"/>
                <a:gd name="T30" fmla="*/ 3548 w 4078"/>
                <a:gd name="T31" fmla="*/ 668 h 4080"/>
                <a:gd name="T32" fmla="*/ 3336 w 4078"/>
                <a:gd name="T33" fmla="*/ 465 h 4080"/>
                <a:gd name="T34" fmla="*/ 3097 w 4078"/>
                <a:gd name="T35" fmla="*/ 296 h 4080"/>
                <a:gd name="T36" fmla="*/ 2832 w 4078"/>
                <a:gd name="T37" fmla="*/ 160 h 4080"/>
                <a:gd name="T38" fmla="*/ 2548 w 4078"/>
                <a:gd name="T39" fmla="*/ 65 h 4080"/>
                <a:gd name="T40" fmla="*/ 2248 w 4078"/>
                <a:gd name="T41" fmla="*/ 10 h 4080"/>
                <a:gd name="T42" fmla="*/ 1934 w 4078"/>
                <a:gd name="T43" fmla="*/ 3 h 4080"/>
                <a:gd name="T44" fmla="*/ 1628 w 4078"/>
                <a:gd name="T45" fmla="*/ 42 h 4080"/>
                <a:gd name="T46" fmla="*/ 1338 w 4078"/>
                <a:gd name="T47" fmla="*/ 124 h 4080"/>
                <a:gd name="T48" fmla="*/ 1067 w 4078"/>
                <a:gd name="T49" fmla="*/ 247 h 4080"/>
                <a:gd name="T50" fmla="*/ 819 w 4078"/>
                <a:gd name="T51" fmla="*/ 405 h 4080"/>
                <a:gd name="T52" fmla="*/ 597 w 4078"/>
                <a:gd name="T53" fmla="*/ 598 h 4080"/>
                <a:gd name="T54" fmla="*/ 405 w 4078"/>
                <a:gd name="T55" fmla="*/ 819 h 4080"/>
                <a:gd name="T56" fmla="*/ 246 w 4078"/>
                <a:gd name="T57" fmla="*/ 1068 h 4080"/>
                <a:gd name="T58" fmla="*/ 124 w 4078"/>
                <a:gd name="T59" fmla="*/ 1339 h 4080"/>
                <a:gd name="T60" fmla="*/ 41 w 4078"/>
                <a:gd name="T61" fmla="*/ 1629 h 4080"/>
                <a:gd name="T62" fmla="*/ 3 w 4078"/>
                <a:gd name="T63" fmla="*/ 1935 h 4080"/>
                <a:gd name="T64" fmla="*/ 10 w 4078"/>
                <a:gd name="T65" fmla="*/ 2249 h 4080"/>
                <a:gd name="T66" fmla="*/ 64 w 4078"/>
                <a:gd name="T67" fmla="*/ 2550 h 4080"/>
                <a:gd name="T68" fmla="*/ 160 w 4078"/>
                <a:gd name="T69" fmla="*/ 2834 h 4080"/>
                <a:gd name="T70" fmla="*/ 295 w 4078"/>
                <a:gd name="T71" fmla="*/ 3098 h 4080"/>
                <a:gd name="T72" fmla="*/ 466 w 4078"/>
                <a:gd name="T73" fmla="*/ 3338 h 4080"/>
                <a:gd name="T74" fmla="*/ 668 w 4078"/>
                <a:gd name="T75" fmla="*/ 3550 h 4080"/>
                <a:gd name="T76" fmla="*/ 899 w 4078"/>
                <a:gd name="T77" fmla="*/ 3731 h 4080"/>
                <a:gd name="T78" fmla="*/ 1155 w 4078"/>
                <a:gd name="T79" fmla="*/ 3879 h 4080"/>
                <a:gd name="T80" fmla="*/ 1433 w 4078"/>
                <a:gd name="T81" fmla="*/ 3988 h 4080"/>
                <a:gd name="T82" fmla="*/ 1728 w 4078"/>
                <a:gd name="T83" fmla="*/ 4056 h 4080"/>
                <a:gd name="T84" fmla="*/ 2039 w 4078"/>
                <a:gd name="T85" fmla="*/ 4080 h 4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78" h="4080">
                  <a:moveTo>
                    <a:pt x="2039" y="4080"/>
                  </a:moveTo>
                  <a:lnTo>
                    <a:pt x="2143" y="4077"/>
                  </a:lnTo>
                  <a:lnTo>
                    <a:pt x="2248" y="4070"/>
                  </a:lnTo>
                  <a:lnTo>
                    <a:pt x="2350" y="4056"/>
                  </a:lnTo>
                  <a:lnTo>
                    <a:pt x="2449" y="4038"/>
                  </a:lnTo>
                  <a:lnTo>
                    <a:pt x="2548" y="4015"/>
                  </a:lnTo>
                  <a:lnTo>
                    <a:pt x="2645" y="3988"/>
                  </a:lnTo>
                  <a:lnTo>
                    <a:pt x="2740" y="3956"/>
                  </a:lnTo>
                  <a:lnTo>
                    <a:pt x="2832" y="3920"/>
                  </a:lnTo>
                  <a:lnTo>
                    <a:pt x="2923" y="3879"/>
                  </a:lnTo>
                  <a:lnTo>
                    <a:pt x="3011" y="3834"/>
                  </a:lnTo>
                  <a:lnTo>
                    <a:pt x="3097" y="3784"/>
                  </a:lnTo>
                  <a:lnTo>
                    <a:pt x="3179" y="3731"/>
                  </a:lnTo>
                  <a:lnTo>
                    <a:pt x="3259" y="3675"/>
                  </a:lnTo>
                  <a:lnTo>
                    <a:pt x="3336" y="3615"/>
                  </a:lnTo>
                  <a:lnTo>
                    <a:pt x="3410" y="3550"/>
                  </a:lnTo>
                  <a:lnTo>
                    <a:pt x="3481" y="3482"/>
                  </a:lnTo>
                  <a:lnTo>
                    <a:pt x="3548" y="3412"/>
                  </a:lnTo>
                  <a:lnTo>
                    <a:pt x="3613" y="3338"/>
                  </a:lnTo>
                  <a:lnTo>
                    <a:pt x="3673" y="3261"/>
                  </a:lnTo>
                  <a:lnTo>
                    <a:pt x="3729" y="3181"/>
                  </a:lnTo>
                  <a:lnTo>
                    <a:pt x="3782" y="3098"/>
                  </a:lnTo>
                  <a:lnTo>
                    <a:pt x="3832" y="3013"/>
                  </a:lnTo>
                  <a:lnTo>
                    <a:pt x="3877" y="2924"/>
                  </a:lnTo>
                  <a:lnTo>
                    <a:pt x="3918" y="2834"/>
                  </a:lnTo>
                  <a:lnTo>
                    <a:pt x="3954" y="2741"/>
                  </a:lnTo>
                  <a:lnTo>
                    <a:pt x="3986" y="2646"/>
                  </a:lnTo>
                  <a:lnTo>
                    <a:pt x="4013" y="2550"/>
                  </a:lnTo>
                  <a:lnTo>
                    <a:pt x="4036" y="2451"/>
                  </a:lnTo>
                  <a:lnTo>
                    <a:pt x="4054" y="2351"/>
                  </a:lnTo>
                  <a:lnTo>
                    <a:pt x="4068" y="2249"/>
                  </a:lnTo>
                  <a:lnTo>
                    <a:pt x="4075" y="2145"/>
                  </a:lnTo>
                  <a:lnTo>
                    <a:pt x="4078" y="2039"/>
                  </a:lnTo>
                  <a:lnTo>
                    <a:pt x="4075" y="1935"/>
                  </a:lnTo>
                  <a:lnTo>
                    <a:pt x="4068" y="1831"/>
                  </a:lnTo>
                  <a:lnTo>
                    <a:pt x="4054" y="1729"/>
                  </a:lnTo>
                  <a:lnTo>
                    <a:pt x="4036" y="1629"/>
                  </a:lnTo>
                  <a:lnTo>
                    <a:pt x="4013" y="1530"/>
                  </a:lnTo>
                  <a:lnTo>
                    <a:pt x="3986" y="1434"/>
                  </a:lnTo>
                  <a:lnTo>
                    <a:pt x="3954" y="1339"/>
                  </a:lnTo>
                  <a:lnTo>
                    <a:pt x="3918" y="1246"/>
                  </a:lnTo>
                  <a:lnTo>
                    <a:pt x="3877" y="1156"/>
                  </a:lnTo>
                  <a:lnTo>
                    <a:pt x="3832" y="1068"/>
                  </a:lnTo>
                  <a:lnTo>
                    <a:pt x="3782" y="982"/>
                  </a:lnTo>
                  <a:lnTo>
                    <a:pt x="3729" y="899"/>
                  </a:lnTo>
                  <a:lnTo>
                    <a:pt x="3673" y="819"/>
                  </a:lnTo>
                  <a:lnTo>
                    <a:pt x="3613" y="742"/>
                  </a:lnTo>
                  <a:lnTo>
                    <a:pt x="3548" y="668"/>
                  </a:lnTo>
                  <a:lnTo>
                    <a:pt x="3481" y="598"/>
                  </a:lnTo>
                  <a:lnTo>
                    <a:pt x="3410" y="530"/>
                  </a:lnTo>
                  <a:lnTo>
                    <a:pt x="3336" y="465"/>
                  </a:lnTo>
                  <a:lnTo>
                    <a:pt x="3259" y="405"/>
                  </a:lnTo>
                  <a:lnTo>
                    <a:pt x="3179" y="349"/>
                  </a:lnTo>
                  <a:lnTo>
                    <a:pt x="3097" y="296"/>
                  </a:lnTo>
                  <a:lnTo>
                    <a:pt x="3011" y="247"/>
                  </a:lnTo>
                  <a:lnTo>
                    <a:pt x="2923" y="201"/>
                  </a:lnTo>
                  <a:lnTo>
                    <a:pt x="2832" y="160"/>
                  </a:lnTo>
                  <a:lnTo>
                    <a:pt x="2740" y="124"/>
                  </a:lnTo>
                  <a:lnTo>
                    <a:pt x="2645" y="92"/>
                  </a:lnTo>
                  <a:lnTo>
                    <a:pt x="2548" y="65"/>
                  </a:lnTo>
                  <a:lnTo>
                    <a:pt x="2449" y="42"/>
                  </a:lnTo>
                  <a:lnTo>
                    <a:pt x="2350" y="24"/>
                  </a:lnTo>
                  <a:lnTo>
                    <a:pt x="2248" y="10"/>
                  </a:lnTo>
                  <a:lnTo>
                    <a:pt x="2143" y="3"/>
                  </a:lnTo>
                  <a:lnTo>
                    <a:pt x="2039" y="0"/>
                  </a:lnTo>
                  <a:lnTo>
                    <a:pt x="1934" y="3"/>
                  </a:lnTo>
                  <a:lnTo>
                    <a:pt x="1830" y="10"/>
                  </a:lnTo>
                  <a:lnTo>
                    <a:pt x="1728" y="24"/>
                  </a:lnTo>
                  <a:lnTo>
                    <a:pt x="1628" y="42"/>
                  </a:lnTo>
                  <a:lnTo>
                    <a:pt x="1530" y="65"/>
                  </a:lnTo>
                  <a:lnTo>
                    <a:pt x="1433" y="92"/>
                  </a:lnTo>
                  <a:lnTo>
                    <a:pt x="1338" y="124"/>
                  </a:lnTo>
                  <a:lnTo>
                    <a:pt x="1245" y="160"/>
                  </a:lnTo>
                  <a:lnTo>
                    <a:pt x="1155" y="201"/>
                  </a:lnTo>
                  <a:lnTo>
                    <a:pt x="1067" y="247"/>
                  </a:lnTo>
                  <a:lnTo>
                    <a:pt x="982" y="296"/>
                  </a:lnTo>
                  <a:lnTo>
                    <a:pt x="899" y="349"/>
                  </a:lnTo>
                  <a:lnTo>
                    <a:pt x="819" y="405"/>
                  </a:lnTo>
                  <a:lnTo>
                    <a:pt x="742" y="465"/>
                  </a:lnTo>
                  <a:lnTo>
                    <a:pt x="668" y="530"/>
                  </a:lnTo>
                  <a:lnTo>
                    <a:pt x="597" y="598"/>
                  </a:lnTo>
                  <a:lnTo>
                    <a:pt x="529" y="668"/>
                  </a:lnTo>
                  <a:lnTo>
                    <a:pt x="466" y="742"/>
                  </a:lnTo>
                  <a:lnTo>
                    <a:pt x="405" y="819"/>
                  </a:lnTo>
                  <a:lnTo>
                    <a:pt x="348" y="899"/>
                  </a:lnTo>
                  <a:lnTo>
                    <a:pt x="295" y="982"/>
                  </a:lnTo>
                  <a:lnTo>
                    <a:pt x="246" y="1068"/>
                  </a:lnTo>
                  <a:lnTo>
                    <a:pt x="201" y="1156"/>
                  </a:lnTo>
                  <a:lnTo>
                    <a:pt x="160" y="1246"/>
                  </a:lnTo>
                  <a:lnTo>
                    <a:pt x="124" y="1339"/>
                  </a:lnTo>
                  <a:lnTo>
                    <a:pt x="91" y="1434"/>
                  </a:lnTo>
                  <a:lnTo>
                    <a:pt x="64" y="1530"/>
                  </a:lnTo>
                  <a:lnTo>
                    <a:pt x="41" y="1629"/>
                  </a:lnTo>
                  <a:lnTo>
                    <a:pt x="24" y="1729"/>
                  </a:lnTo>
                  <a:lnTo>
                    <a:pt x="10" y="1831"/>
                  </a:lnTo>
                  <a:lnTo>
                    <a:pt x="3" y="1935"/>
                  </a:lnTo>
                  <a:lnTo>
                    <a:pt x="0" y="2039"/>
                  </a:lnTo>
                  <a:lnTo>
                    <a:pt x="3" y="2145"/>
                  </a:lnTo>
                  <a:lnTo>
                    <a:pt x="10" y="2249"/>
                  </a:lnTo>
                  <a:lnTo>
                    <a:pt x="24" y="2351"/>
                  </a:lnTo>
                  <a:lnTo>
                    <a:pt x="41" y="2451"/>
                  </a:lnTo>
                  <a:lnTo>
                    <a:pt x="64" y="2550"/>
                  </a:lnTo>
                  <a:lnTo>
                    <a:pt x="91" y="2646"/>
                  </a:lnTo>
                  <a:lnTo>
                    <a:pt x="124" y="2741"/>
                  </a:lnTo>
                  <a:lnTo>
                    <a:pt x="160" y="2834"/>
                  </a:lnTo>
                  <a:lnTo>
                    <a:pt x="201" y="2924"/>
                  </a:lnTo>
                  <a:lnTo>
                    <a:pt x="246" y="3013"/>
                  </a:lnTo>
                  <a:lnTo>
                    <a:pt x="295" y="3098"/>
                  </a:lnTo>
                  <a:lnTo>
                    <a:pt x="348" y="3181"/>
                  </a:lnTo>
                  <a:lnTo>
                    <a:pt x="405" y="3261"/>
                  </a:lnTo>
                  <a:lnTo>
                    <a:pt x="466" y="3338"/>
                  </a:lnTo>
                  <a:lnTo>
                    <a:pt x="529" y="3412"/>
                  </a:lnTo>
                  <a:lnTo>
                    <a:pt x="597" y="3482"/>
                  </a:lnTo>
                  <a:lnTo>
                    <a:pt x="668" y="3550"/>
                  </a:lnTo>
                  <a:lnTo>
                    <a:pt x="742" y="3615"/>
                  </a:lnTo>
                  <a:lnTo>
                    <a:pt x="819" y="3675"/>
                  </a:lnTo>
                  <a:lnTo>
                    <a:pt x="899" y="3731"/>
                  </a:lnTo>
                  <a:lnTo>
                    <a:pt x="982" y="3784"/>
                  </a:lnTo>
                  <a:lnTo>
                    <a:pt x="1067" y="3834"/>
                  </a:lnTo>
                  <a:lnTo>
                    <a:pt x="1155" y="3879"/>
                  </a:lnTo>
                  <a:lnTo>
                    <a:pt x="1245" y="3920"/>
                  </a:lnTo>
                  <a:lnTo>
                    <a:pt x="1338" y="3956"/>
                  </a:lnTo>
                  <a:lnTo>
                    <a:pt x="1433" y="3988"/>
                  </a:lnTo>
                  <a:lnTo>
                    <a:pt x="1530" y="4015"/>
                  </a:lnTo>
                  <a:lnTo>
                    <a:pt x="1628" y="4038"/>
                  </a:lnTo>
                  <a:lnTo>
                    <a:pt x="1728" y="4056"/>
                  </a:lnTo>
                  <a:lnTo>
                    <a:pt x="1830" y="4070"/>
                  </a:lnTo>
                  <a:lnTo>
                    <a:pt x="1934" y="4077"/>
                  </a:lnTo>
                  <a:lnTo>
                    <a:pt x="2039" y="408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n-lt"/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6707188" y="3321050"/>
              <a:ext cx="104775" cy="215900"/>
            </a:xfrm>
            <a:custGeom>
              <a:avLst/>
              <a:gdLst>
                <a:gd name="T0" fmla="*/ 210 w 984"/>
                <a:gd name="T1" fmla="*/ 675 h 2040"/>
                <a:gd name="T2" fmla="*/ 211 w 984"/>
                <a:gd name="T3" fmla="*/ 433 h 2040"/>
                <a:gd name="T4" fmla="*/ 214 w 984"/>
                <a:gd name="T5" fmla="*/ 374 h 2040"/>
                <a:gd name="T6" fmla="*/ 218 w 984"/>
                <a:gd name="T7" fmla="*/ 331 h 2040"/>
                <a:gd name="T8" fmla="*/ 224 w 984"/>
                <a:gd name="T9" fmla="*/ 289 h 2040"/>
                <a:gd name="T10" fmla="*/ 234 w 984"/>
                <a:gd name="T11" fmla="*/ 247 h 2040"/>
                <a:gd name="T12" fmla="*/ 248 w 984"/>
                <a:gd name="T13" fmla="*/ 207 h 2040"/>
                <a:gd name="T14" fmla="*/ 268 w 984"/>
                <a:gd name="T15" fmla="*/ 170 h 2040"/>
                <a:gd name="T16" fmla="*/ 292 w 984"/>
                <a:gd name="T17" fmla="*/ 137 h 2040"/>
                <a:gd name="T18" fmla="*/ 321 w 984"/>
                <a:gd name="T19" fmla="*/ 105 h 2040"/>
                <a:gd name="T20" fmla="*/ 352 w 984"/>
                <a:gd name="T21" fmla="*/ 77 h 2040"/>
                <a:gd name="T22" fmla="*/ 388 w 984"/>
                <a:gd name="T23" fmla="*/ 53 h 2040"/>
                <a:gd name="T24" fmla="*/ 428 w 984"/>
                <a:gd name="T25" fmla="*/ 33 h 2040"/>
                <a:gd name="T26" fmla="*/ 472 w 984"/>
                <a:gd name="T27" fmla="*/ 17 h 2040"/>
                <a:gd name="T28" fmla="*/ 522 w 984"/>
                <a:gd name="T29" fmla="*/ 7 h 2040"/>
                <a:gd name="T30" fmla="*/ 576 w 984"/>
                <a:gd name="T31" fmla="*/ 0 h 2040"/>
                <a:gd name="T32" fmla="*/ 654 w 984"/>
                <a:gd name="T33" fmla="*/ 0 h 2040"/>
                <a:gd name="T34" fmla="*/ 740 w 984"/>
                <a:gd name="T35" fmla="*/ 3 h 2040"/>
                <a:gd name="T36" fmla="*/ 812 w 984"/>
                <a:gd name="T37" fmla="*/ 9 h 2040"/>
                <a:gd name="T38" fmla="*/ 870 w 984"/>
                <a:gd name="T39" fmla="*/ 16 h 2040"/>
                <a:gd name="T40" fmla="*/ 935 w 984"/>
                <a:gd name="T41" fmla="*/ 26 h 2040"/>
                <a:gd name="T42" fmla="*/ 978 w 984"/>
                <a:gd name="T43" fmla="*/ 37 h 2040"/>
                <a:gd name="T44" fmla="*/ 932 w 984"/>
                <a:gd name="T45" fmla="*/ 350 h 2040"/>
                <a:gd name="T46" fmla="*/ 916 w 984"/>
                <a:gd name="T47" fmla="*/ 346 h 2040"/>
                <a:gd name="T48" fmla="*/ 877 w 984"/>
                <a:gd name="T49" fmla="*/ 338 h 2040"/>
                <a:gd name="T50" fmla="*/ 822 w 984"/>
                <a:gd name="T51" fmla="*/ 329 h 2040"/>
                <a:gd name="T52" fmla="*/ 761 w 984"/>
                <a:gd name="T53" fmla="*/ 325 h 2040"/>
                <a:gd name="T54" fmla="*/ 731 w 984"/>
                <a:gd name="T55" fmla="*/ 326 h 2040"/>
                <a:gd name="T56" fmla="*/ 703 w 984"/>
                <a:gd name="T57" fmla="*/ 331 h 2040"/>
                <a:gd name="T58" fmla="*/ 677 w 984"/>
                <a:gd name="T59" fmla="*/ 339 h 2040"/>
                <a:gd name="T60" fmla="*/ 653 w 984"/>
                <a:gd name="T61" fmla="*/ 350 h 2040"/>
                <a:gd name="T62" fmla="*/ 634 w 984"/>
                <a:gd name="T63" fmla="*/ 365 h 2040"/>
                <a:gd name="T64" fmla="*/ 618 w 984"/>
                <a:gd name="T65" fmla="*/ 384 h 2040"/>
                <a:gd name="T66" fmla="*/ 609 w 984"/>
                <a:gd name="T67" fmla="*/ 408 h 2040"/>
                <a:gd name="T68" fmla="*/ 606 w 984"/>
                <a:gd name="T69" fmla="*/ 436 h 2040"/>
                <a:gd name="T70" fmla="*/ 942 w 984"/>
                <a:gd name="T71" fmla="*/ 675 h 2040"/>
                <a:gd name="T72" fmla="*/ 606 w 984"/>
                <a:gd name="T73" fmla="*/ 980 h 2040"/>
                <a:gd name="T74" fmla="*/ 210 w 984"/>
                <a:gd name="T75" fmla="*/ 2040 h 2040"/>
                <a:gd name="T76" fmla="*/ 0 w 984"/>
                <a:gd name="T77" fmla="*/ 980 h 20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84" h="2040">
                  <a:moveTo>
                    <a:pt x="0" y="675"/>
                  </a:moveTo>
                  <a:lnTo>
                    <a:pt x="210" y="675"/>
                  </a:lnTo>
                  <a:lnTo>
                    <a:pt x="210" y="470"/>
                  </a:lnTo>
                  <a:lnTo>
                    <a:pt x="211" y="433"/>
                  </a:lnTo>
                  <a:lnTo>
                    <a:pt x="212" y="394"/>
                  </a:lnTo>
                  <a:lnTo>
                    <a:pt x="214" y="374"/>
                  </a:lnTo>
                  <a:lnTo>
                    <a:pt x="215" y="352"/>
                  </a:lnTo>
                  <a:lnTo>
                    <a:pt x="218" y="331"/>
                  </a:lnTo>
                  <a:lnTo>
                    <a:pt x="220" y="311"/>
                  </a:lnTo>
                  <a:lnTo>
                    <a:pt x="224" y="289"/>
                  </a:lnTo>
                  <a:lnTo>
                    <a:pt x="228" y="268"/>
                  </a:lnTo>
                  <a:lnTo>
                    <a:pt x="234" y="247"/>
                  </a:lnTo>
                  <a:lnTo>
                    <a:pt x="241" y="226"/>
                  </a:lnTo>
                  <a:lnTo>
                    <a:pt x="248" y="207"/>
                  </a:lnTo>
                  <a:lnTo>
                    <a:pt x="257" y="188"/>
                  </a:lnTo>
                  <a:lnTo>
                    <a:pt x="268" y="170"/>
                  </a:lnTo>
                  <a:lnTo>
                    <a:pt x="279" y="153"/>
                  </a:lnTo>
                  <a:lnTo>
                    <a:pt x="292" y="137"/>
                  </a:lnTo>
                  <a:lnTo>
                    <a:pt x="306" y="121"/>
                  </a:lnTo>
                  <a:lnTo>
                    <a:pt x="321" y="105"/>
                  </a:lnTo>
                  <a:lnTo>
                    <a:pt x="336" y="91"/>
                  </a:lnTo>
                  <a:lnTo>
                    <a:pt x="352" y="77"/>
                  </a:lnTo>
                  <a:lnTo>
                    <a:pt x="370" y="65"/>
                  </a:lnTo>
                  <a:lnTo>
                    <a:pt x="388" y="53"/>
                  </a:lnTo>
                  <a:lnTo>
                    <a:pt x="407" y="43"/>
                  </a:lnTo>
                  <a:lnTo>
                    <a:pt x="428" y="33"/>
                  </a:lnTo>
                  <a:lnTo>
                    <a:pt x="449" y="24"/>
                  </a:lnTo>
                  <a:lnTo>
                    <a:pt x="472" y="17"/>
                  </a:lnTo>
                  <a:lnTo>
                    <a:pt x="496" y="11"/>
                  </a:lnTo>
                  <a:lnTo>
                    <a:pt x="522" y="7"/>
                  </a:lnTo>
                  <a:lnTo>
                    <a:pt x="548" y="2"/>
                  </a:lnTo>
                  <a:lnTo>
                    <a:pt x="576" y="0"/>
                  </a:lnTo>
                  <a:lnTo>
                    <a:pt x="606" y="0"/>
                  </a:lnTo>
                  <a:lnTo>
                    <a:pt x="654" y="0"/>
                  </a:lnTo>
                  <a:lnTo>
                    <a:pt x="698" y="1"/>
                  </a:lnTo>
                  <a:lnTo>
                    <a:pt x="740" y="3"/>
                  </a:lnTo>
                  <a:lnTo>
                    <a:pt x="778" y="5"/>
                  </a:lnTo>
                  <a:lnTo>
                    <a:pt x="812" y="9"/>
                  </a:lnTo>
                  <a:lnTo>
                    <a:pt x="842" y="12"/>
                  </a:lnTo>
                  <a:lnTo>
                    <a:pt x="870" y="16"/>
                  </a:lnTo>
                  <a:lnTo>
                    <a:pt x="895" y="19"/>
                  </a:lnTo>
                  <a:lnTo>
                    <a:pt x="935" y="26"/>
                  </a:lnTo>
                  <a:lnTo>
                    <a:pt x="963" y="31"/>
                  </a:lnTo>
                  <a:lnTo>
                    <a:pt x="978" y="37"/>
                  </a:lnTo>
                  <a:lnTo>
                    <a:pt x="984" y="38"/>
                  </a:lnTo>
                  <a:lnTo>
                    <a:pt x="932" y="350"/>
                  </a:lnTo>
                  <a:lnTo>
                    <a:pt x="927" y="349"/>
                  </a:lnTo>
                  <a:lnTo>
                    <a:pt x="916" y="346"/>
                  </a:lnTo>
                  <a:lnTo>
                    <a:pt x="899" y="343"/>
                  </a:lnTo>
                  <a:lnTo>
                    <a:pt x="877" y="338"/>
                  </a:lnTo>
                  <a:lnTo>
                    <a:pt x="851" y="333"/>
                  </a:lnTo>
                  <a:lnTo>
                    <a:pt x="822" y="329"/>
                  </a:lnTo>
                  <a:lnTo>
                    <a:pt x="792" y="326"/>
                  </a:lnTo>
                  <a:lnTo>
                    <a:pt x="761" y="325"/>
                  </a:lnTo>
                  <a:lnTo>
                    <a:pt x="746" y="325"/>
                  </a:lnTo>
                  <a:lnTo>
                    <a:pt x="731" y="326"/>
                  </a:lnTo>
                  <a:lnTo>
                    <a:pt x="716" y="328"/>
                  </a:lnTo>
                  <a:lnTo>
                    <a:pt x="703" y="331"/>
                  </a:lnTo>
                  <a:lnTo>
                    <a:pt x="689" y="334"/>
                  </a:lnTo>
                  <a:lnTo>
                    <a:pt x="677" y="339"/>
                  </a:lnTo>
                  <a:lnTo>
                    <a:pt x="664" y="344"/>
                  </a:lnTo>
                  <a:lnTo>
                    <a:pt x="653" y="350"/>
                  </a:lnTo>
                  <a:lnTo>
                    <a:pt x="642" y="357"/>
                  </a:lnTo>
                  <a:lnTo>
                    <a:pt x="634" y="365"/>
                  </a:lnTo>
                  <a:lnTo>
                    <a:pt x="626" y="374"/>
                  </a:lnTo>
                  <a:lnTo>
                    <a:pt x="618" y="384"/>
                  </a:lnTo>
                  <a:lnTo>
                    <a:pt x="613" y="396"/>
                  </a:lnTo>
                  <a:lnTo>
                    <a:pt x="609" y="408"/>
                  </a:lnTo>
                  <a:lnTo>
                    <a:pt x="607" y="422"/>
                  </a:lnTo>
                  <a:lnTo>
                    <a:pt x="606" y="436"/>
                  </a:lnTo>
                  <a:lnTo>
                    <a:pt x="606" y="675"/>
                  </a:lnTo>
                  <a:lnTo>
                    <a:pt x="942" y="675"/>
                  </a:lnTo>
                  <a:lnTo>
                    <a:pt x="919" y="980"/>
                  </a:lnTo>
                  <a:lnTo>
                    <a:pt x="606" y="980"/>
                  </a:lnTo>
                  <a:lnTo>
                    <a:pt x="606" y="2040"/>
                  </a:lnTo>
                  <a:lnTo>
                    <a:pt x="210" y="2040"/>
                  </a:lnTo>
                  <a:lnTo>
                    <a:pt x="210" y="980"/>
                  </a:lnTo>
                  <a:lnTo>
                    <a:pt x="0" y="980"/>
                  </a:lnTo>
                  <a:lnTo>
                    <a:pt x="0" y="675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n-lt"/>
              </a:endParaRPr>
            </a:p>
          </p:txBody>
        </p:sp>
      </p:grpSp>
      <p:sp>
        <p:nvSpPr>
          <p:cNvPr id="17" name="Rectangle 16"/>
          <p:cNvSpPr/>
          <p:nvPr userDrawn="1"/>
        </p:nvSpPr>
        <p:spPr>
          <a:xfrm>
            <a:off x="2849067" y="4293133"/>
            <a:ext cx="6096000" cy="219291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/>
            <a:r>
              <a:rPr lang="en-US" sz="825" dirty="0">
                <a:solidFill>
                  <a:schemeClr val="bg1"/>
                </a:solidFill>
                <a:latin typeface="Calibri" panose="020F0502020204030204" pitchFamily="34" charset="0"/>
              </a:rPr>
              <a:t>© 2019  YASH Technologies | www.yash.com | Confidential</a:t>
            </a:r>
            <a:endParaRPr lang="en-IN" sz="825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cxnSp>
        <p:nvCxnSpPr>
          <p:cNvPr id="54" name="Straight Connector 53"/>
          <p:cNvCxnSpPr/>
          <p:nvPr userDrawn="1"/>
        </p:nvCxnSpPr>
        <p:spPr>
          <a:xfrm>
            <a:off x="4044416" y="658417"/>
            <a:ext cx="0" cy="1622822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62FD5AD4-CA2D-4C41-99A5-A12E5001BC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0474" y="728755"/>
            <a:ext cx="2490671" cy="1530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9693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Paragraph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004571"/>
            <a:ext cx="9106638" cy="37489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08610"/>
            <a:ext cx="6858000" cy="6858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 Black"/>
                <a:cs typeface="Arial Black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1480" y="1314450"/>
            <a:ext cx="8351520" cy="31432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10000"/>
              </a:lnSpc>
              <a:spcAft>
                <a:spcPts val="1200"/>
              </a:spcAft>
              <a:buFont typeface="Arial" panose="020B0604020202020204" pitchFamily="34" charset="0"/>
              <a:buNone/>
              <a:defRPr sz="1800" baseline="0">
                <a:solidFill>
                  <a:schemeClr val="tx1"/>
                </a:solidFill>
                <a:latin typeface="Cambria"/>
                <a:cs typeface="Cambria"/>
              </a:defRPr>
            </a:lvl1pPr>
            <a:lvl2pPr marL="742950" indent="-285750" algn="l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1200150" indent="-285750" algn="l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1657350" indent="-285750" algn="l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2114550" indent="-285750" algn="l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  <a:lvl6pPr marL="2571750" indent="-285750" algn="l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7522978" y="4898876"/>
            <a:ext cx="11430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October 10, 2017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24797" y="4891578"/>
            <a:ext cx="228598" cy="1384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D67ABD5-DD63-C847-903A-9DFAF2FA900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481" y="4852250"/>
            <a:ext cx="748812" cy="217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9746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08610"/>
            <a:ext cx="6858000" cy="6858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 Black"/>
                <a:cs typeface="Arial Black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14450"/>
            <a:ext cx="8351520" cy="3086100"/>
          </a:xfrm>
          <a:prstGeom prst="rect">
            <a:avLst/>
          </a:prstGeom>
        </p:spPr>
        <p:txBody>
          <a:bodyPr vert="horz"/>
          <a:lstStyle>
            <a:lvl1pPr marL="256032" indent="-256032" algn="l">
              <a:lnSpc>
                <a:spcPct val="120000"/>
              </a:lnSpc>
              <a:spcAft>
                <a:spcPts val="600"/>
              </a:spcAft>
              <a:buFont typeface="Arial"/>
              <a:buChar char="•"/>
              <a:defRPr sz="1800" b="0">
                <a:latin typeface="Cambria"/>
                <a:cs typeface="Cambria"/>
              </a:defRPr>
            </a:lvl1pPr>
            <a:lvl2pPr marL="457200" indent="-228600" algn="l">
              <a:lnSpc>
                <a:spcPct val="120000"/>
              </a:lnSpc>
              <a:spcAft>
                <a:spcPts val="600"/>
              </a:spcAft>
              <a:buFont typeface="Courier New"/>
              <a:buChar char="o"/>
              <a:defRPr sz="1800">
                <a:latin typeface="Cambria"/>
                <a:cs typeface="Cambria"/>
              </a:defRPr>
            </a:lvl2pPr>
            <a:lvl3pPr marL="685800" indent="-228600" algn="l">
              <a:lnSpc>
                <a:spcPct val="120000"/>
              </a:lnSpc>
              <a:spcAft>
                <a:spcPts val="600"/>
              </a:spcAft>
              <a:buFont typeface="Lucida Grande"/>
              <a:buChar char="-"/>
              <a:defRPr sz="1600">
                <a:latin typeface="Cambria"/>
                <a:cs typeface="Cambria"/>
              </a:defRPr>
            </a:lvl3pPr>
            <a:lvl4pPr algn="l">
              <a:lnSpc>
                <a:spcPct val="120000"/>
              </a:lnSpc>
              <a:spcAft>
                <a:spcPts val="600"/>
              </a:spcAft>
              <a:defRPr sz="1600">
                <a:latin typeface="Cambria"/>
                <a:cs typeface="Cambria"/>
              </a:defRPr>
            </a:lvl4pPr>
            <a:lvl5pPr marL="1143000" indent="-228600" algn="l">
              <a:lnSpc>
                <a:spcPct val="120000"/>
              </a:lnSpc>
              <a:spcAft>
                <a:spcPts val="600"/>
              </a:spcAft>
              <a:buFont typeface="Courier New"/>
              <a:buChar char="o"/>
              <a:defRPr sz="1400">
                <a:latin typeface="Cambria"/>
                <a:cs typeface="Cambri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7522978" y="4898876"/>
            <a:ext cx="11430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October 10, 2017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24797" y="4891578"/>
            <a:ext cx="228598" cy="1384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D67ABD5-DD63-C847-903A-9DFAF2FA900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481" y="4852250"/>
            <a:ext cx="748812" cy="217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3443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Basic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483287"/>
            <a:ext cx="6858000" cy="685800"/>
          </a:xfrm>
          <a:prstGeom prst="rect">
            <a:avLst/>
          </a:prstGeom>
        </p:spPr>
        <p:txBody>
          <a:bodyPr/>
          <a:lstStyle>
            <a:lvl1pPr>
              <a:defRPr sz="3200" b="0" i="0">
                <a:latin typeface="Arial Black"/>
                <a:cs typeface="Arial Black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1480" y="1314450"/>
            <a:ext cx="8351520" cy="31432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10000"/>
              </a:lnSpc>
              <a:spcAft>
                <a:spcPts val="1200"/>
              </a:spcAft>
              <a:buFont typeface="+mj-lt"/>
              <a:buNone/>
              <a:defRPr sz="1800" baseline="0">
                <a:solidFill>
                  <a:schemeClr val="tx1"/>
                </a:solidFill>
                <a:latin typeface="Cambria"/>
                <a:cs typeface="Cambr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22978" y="4898876"/>
            <a:ext cx="1143000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October 10, 2017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24797" y="4891578"/>
            <a:ext cx="228598" cy="1384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D67ABD5-DD63-C847-903A-9DFAF2FA900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481" y="4852250"/>
            <a:ext cx="748812" cy="217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7945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D4548-AB82-4EDC-B98F-7AFE2102EA60}" type="datetimeFigureOut">
              <a:rPr lang="en-US" smtClean="0"/>
              <a:t>4/1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BB4E2-50A8-4B72-B600-D50E6D8ADEE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6711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D4548-AB82-4EDC-B98F-7AFE2102EA60}" type="datetimeFigureOut">
              <a:rPr lang="en-US" smtClean="0"/>
              <a:t>4/1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BB4E2-50A8-4B72-B600-D50E6D8ADEE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2368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D4548-AB82-4EDC-B98F-7AFE2102EA60}" type="datetimeFigureOut">
              <a:rPr lang="en-US" smtClean="0"/>
              <a:t>4/1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BB4E2-50A8-4B72-B600-D50E6D8ADEE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18136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D4548-AB82-4EDC-B98F-7AFE2102EA60}" type="datetimeFigureOut">
              <a:rPr lang="en-US" smtClean="0"/>
              <a:t>4/10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BB4E2-50A8-4B72-B600-D50E6D8ADEE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25560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or Content Highligh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October 10, 2017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11163" y="2434590"/>
            <a:ext cx="6172200" cy="141192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100">
                <a:solidFill>
                  <a:schemeClr val="tx1"/>
                </a:solidFill>
                <a:latin typeface="+mj-lt"/>
                <a:ea typeface="Futura For Stryker" charset="0"/>
                <a:cs typeface="Futura For Stryker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164" y="631596"/>
            <a:ext cx="6172200" cy="158555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defRPr sz="5400">
                <a:solidFill>
                  <a:schemeClr val="bg2"/>
                </a:solidFill>
                <a:latin typeface="Rockwell" charset="0"/>
                <a:ea typeface="Rockwell" charset="0"/>
                <a:cs typeface="Rockwel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04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D4548-AB82-4EDC-B98F-7AFE2102EA60}" type="datetimeFigureOut">
              <a:rPr lang="en-US" smtClean="0"/>
              <a:t>4/10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BB4E2-50A8-4B72-B600-D50E6D8ADEE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4777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D4548-AB82-4EDC-B98F-7AFE2102EA60}" type="datetimeFigureOut">
              <a:rPr lang="en-US" smtClean="0"/>
              <a:t>4/10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BB4E2-50A8-4B72-B600-D50E6D8ADEE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047465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D4548-AB82-4EDC-B98F-7AFE2102EA60}" type="datetimeFigureOut">
              <a:rPr lang="en-US" smtClean="0"/>
              <a:t>4/10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BB4E2-50A8-4B72-B600-D50E6D8ADEE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8188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D4548-AB82-4EDC-B98F-7AFE2102EA60}" type="datetimeFigureOut">
              <a:rPr lang="en-US" smtClean="0"/>
              <a:t>4/10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BB4E2-50A8-4B72-B600-D50E6D8ADEE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5717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D4548-AB82-4EDC-B98F-7AFE2102EA60}" type="datetimeFigureOut">
              <a:rPr lang="en-US" smtClean="0"/>
              <a:t>4/10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BB4E2-50A8-4B72-B600-D50E6D8ADEE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65843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D4548-AB82-4EDC-B98F-7AFE2102EA60}" type="datetimeFigureOut">
              <a:rPr lang="en-US" smtClean="0"/>
              <a:t>4/1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BB4E2-50A8-4B72-B600-D50E6D8ADEE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667478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D4548-AB82-4EDC-B98F-7AFE2102EA60}" type="datetimeFigureOut">
              <a:rPr lang="en-US" smtClean="0"/>
              <a:t>4/1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BB4E2-50A8-4B72-B600-D50E6D8ADEE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71869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October 10, 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D2D10-4C05-43CC-847B-26378B5EB8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40842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October 10, 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D2D10-4C05-43CC-847B-26378B5EB8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624357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October 10, 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D2D10-4C05-43CC-847B-26378B5EB8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68162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October 10, 2017</a:t>
            </a:r>
          </a:p>
        </p:txBody>
      </p:sp>
    </p:spTree>
    <p:extLst>
      <p:ext uri="{BB962C8B-B14F-4D97-AF65-F5344CB8AC3E}">
        <p14:creationId xmlns:p14="http://schemas.microsoft.com/office/powerpoint/2010/main" val="177768681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October 10, 2017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D2D10-4C05-43CC-847B-26378B5EB8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8076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October 10, 2017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D2D10-4C05-43CC-847B-26378B5EB8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1232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October 10, 2017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D2D10-4C05-43CC-847B-26378B5EB8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284435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October 10, 2017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D2D10-4C05-43CC-847B-26378B5EB8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969649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October 10, 2017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D2D10-4C05-43CC-847B-26378B5EB8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505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October 10, 2017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D2D10-4C05-43CC-847B-26378B5EB8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98407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October 10, 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D2D10-4C05-43CC-847B-26378B5EB8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82659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October 10, 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D2D10-4C05-43CC-847B-26378B5EB8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04449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October 10, 2017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8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20794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stryker_title_slide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096001" y="2242566"/>
            <a:ext cx="2501733" cy="130073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r">
              <a:lnSpc>
                <a:spcPct val="110000"/>
              </a:lnSpc>
              <a:spcAft>
                <a:spcPts val="0"/>
              </a:spcAft>
              <a:buNone/>
              <a:defRPr sz="2100" b="0"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3" y="2133910"/>
            <a:ext cx="4837112" cy="65754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0"/>
            <a:ext cx="914400" cy="231580"/>
          </a:xfrm>
          <a:prstGeom prst="rect">
            <a:avLst/>
          </a:prstGeom>
        </p:spPr>
      </p:pic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7454734" y="4607846"/>
            <a:ext cx="1143000" cy="153888"/>
          </a:xfrm>
          <a:prstGeom prst="rect">
            <a:avLst/>
          </a:prstGeom>
        </p:spPr>
        <p:txBody>
          <a:bodyPr/>
          <a:lstStyle>
            <a:lvl1pPr algn="r">
              <a:defRPr sz="1000"/>
            </a:lvl1pPr>
          </a:lstStyle>
          <a:p>
            <a:fld id="{D42ED59C-7B8C-C749-9AE9-EDEF83B1CD9F}" type="datetime4">
              <a:rPr lang="en-US" smtClean="0"/>
              <a:pPr/>
              <a:t>April 10, 2019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2" y="570974"/>
            <a:ext cx="4837113" cy="1562936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defRPr sz="4400">
                <a:latin typeface="Rockwell" charset="0"/>
                <a:ea typeface="Rockwell" charset="0"/>
                <a:cs typeface="Rockwel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8204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or Content Highligh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815"/>
          <a:stretch/>
        </p:blipFill>
        <p:spPr>
          <a:xfrm>
            <a:off x="0" y="0"/>
            <a:ext cx="9144000" cy="458724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92080" y="2552700"/>
            <a:ext cx="3139200" cy="1546860"/>
          </a:xfrm>
          <a:prstGeom prst="rect">
            <a:avLst/>
          </a:prstGeom>
        </p:spPr>
        <p:txBody>
          <a:bodyPr tIns="182880" anchor="b" anchorCtr="0"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8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idx="13"/>
          </p:nvPr>
        </p:nvSpPr>
        <p:spPr>
          <a:xfrm>
            <a:off x="5792080" y="4236720"/>
            <a:ext cx="3139200" cy="35052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ts val="19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October 10, 2017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0"/>
            <a:ext cx="914400" cy="2315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160" y="2552700"/>
            <a:ext cx="4771391" cy="1546860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r">
              <a:defRPr sz="4000">
                <a:solidFill>
                  <a:schemeClr val="bg2"/>
                </a:solidFill>
                <a:latin typeface="Rockwell" charset="0"/>
                <a:ea typeface="Rockwell" charset="0"/>
                <a:cs typeface="Rockwel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72436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stryker_title_slide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22376" y="3086100"/>
            <a:ext cx="4840224" cy="130073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2100" b="0"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0"/>
            <a:ext cx="914400" cy="231580"/>
          </a:xfrm>
          <a:prstGeom prst="rect">
            <a:avLst/>
          </a:prstGeom>
        </p:spPr>
      </p:pic>
      <p:sp>
        <p:nvSpPr>
          <p:cNvPr id="9" name="Date Placeholder 9"/>
          <p:cNvSpPr>
            <a:spLocks noGrp="1"/>
          </p:cNvSpPr>
          <p:nvPr>
            <p:ph type="dt" sz="half" idx="2"/>
          </p:nvPr>
        </p:nvSpPr>
        <p:spPr>
          <a:xfrm>
            <a:off x="7454734" y="4607846"/>
            <a:ext cx="1143000" cy="153888"/>
          </a:xfrm>
          <a:prstGeom prst="rect">
            <a:avLst/>
          </a:prstGeom>
        </p:spPr>
        <p:txBody>
          <a:bodyPr/>
          <a:lstStyle>
            <a:lvl1pPr algn="r">
              <a:defRPr sz="1000"/>
            </a:lvl1pPr>
          </a:lstStyle>
          <a:p>
            <a:fld id="{C23EF553-79CA-7648-B2BB-F3BD8E267427}" type="datetime4">
              <a:rPr lang="en-US" smtClean="0"/>
              <a:pPr/>
              <a:t>April 10, 2019</a:t>
            </a:fld>
            <a:endParaRPr lang="en-US" dirty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3" y="2133910"/>
            <a:ext cx="4837112" cy="65754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2" y="570975"/>
            <a:ext cx="4837113" cy="1552808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defRPr sz="4400">
                <a:latin typeface="Rockwell" charset="0"/>
                <a:ea typeface="Rockwell" charset="0"/>
                <a:cs typeface="Rockwel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7829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or Content Highligh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E2F97B1C-54C9-7E4D-9B47-365FCA55031D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11163" y="2434590"/>
            <a:ext cx="6172200" cy="141192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100">
                <a:solidFill>
                  <a:schemeClr val="tx1"/>
                </a:solidFill>
                <a:latin typeface="+mj-lt"/>
                <a:ea typeface="Futura For Stryker" charset="0"/>
                <a:cs typeface="Futura For Stryker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164" y="631596"/>
            <a:ext cx="6172200" cy="158555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defRPr sz="5400">
                <a:solidFill>
                  <a:schemeClr val="bg2"/>
                </a:solidFill>
                <a:latin typeface="Rockwell" charset="0"/>
                <a:ea typeface="Rockwell" charset="0"/>
                <a:cs typeface="Rockwel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236229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or Content Highligh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815"/>
          <a:stretch/>
        </p:blipFill>
        <p:spPr>
          <a:xfrm>
            <a:off x="0" y="0"/>
            <a:ext cx="9144000" cy="458724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92080" y="2552700"/>
            <a:ext cx="3139200" cy="1546860"/>
          </a:xfrm>
          <a:prstGeom prst="rect">
            <a:avLst/>
          </a:prstGeom>
        </p:spPr>
        <p:txBody>
          <a:bodyPr tIns="182880" anchor="b" anchorCtr="0"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8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idx="13"/>
          </p:nvPr>
        </p:nvSpPr>
        <p:spPr>
          <a:xfrm>
            <a:off x="5792080" y="4236720"/>
            <a:ext cx="3139200" cy="35052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ts val="19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AC499524-A10B-9845-B316-65CC9E4D83E2}" type="datetime4">
              <a:rPr lang="en-US" smtClean="0"/>
              <a:t>April 10, 2019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0"/>
            <a:ext cx="914400" cy="2315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160" y="2552700"/>
            <a:ext cx="4771391" cy="1546860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r">
              <a:defRPr sz="4000">
                <a:solidFill>
                  <a:schemeClr val="bg2"/>
                </a:solidFill>
                <a:latin typeface="Rockwell" charset="0"/>
                <a:ea typeface="Rockwell" charset="0"/>
                <a:cs typeface="Rockwel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973428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or Content Highlight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72"/>
          <a:stretch/>
        </p:blipFill>
        <p:spPr>
          <a:xfrm>
            <a:off x="0" y="0"/>
            <a:ext cx="9144000" cy="4800311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4613520" y="1988820"/>
            <a:ext cx="3819280" cy="2286000"/>
          </a:xfrm>
          <a:prstGeom prst="rect">
            <a:avLst/>
          </a:prstGeom>
        </p:spPr>
        <p:txBody>
          <a:bodyPr tIns="182880" anchor="b" anchorCtr="0"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idx="13"/>
          </p:nvPr>
        </p:nvSpPr>
        <p:spPr>
          <a:xfrm>
            <a:off x="4613520" y="4511040"/>
            <a:ext cx="3819280" cy="2892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ts val="19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B8FE1A2F-547E-FB4D-A24B-3C228FCD75D1}" type="datetime4">
              <a:rPr lang="en-US" smtClean="0"/>
              <a:t>April 10, 2019</a:t>
            </a:fld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0"/>
            <a:ext cx="914400" cy="2315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4163" y="1988821"/>
            <a:ext cx="2725739" cy="228599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r">
              <a:defRPr sz="4000">
                <a:solidFill>
                  <a:schemeClr val="bg1"/>
                </a:solidFill>
                <a:latin typeface="Rockwell" charset="0"/>
                <a:ea typeface="Rockwell" charset="0"/>
                <a:cs typeface="Rockwel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8727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with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0F5AC35F-CA45-D445-8225-37E1467C2279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841795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with bulleted list and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03166EC9-30B9-AB4E-8865-1AFECE1152A6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096293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paragraph with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C53DF27E-CC5C-E045-9D6C-87815FF2BACF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16A08C3-308C-4EB1-967B-22B9D7081C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572000"/>
            <a:ext cx="1264844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799709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paragraph with bulleted list and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CEB5A13D-946F-CB4C-ADF8-08CA7190397D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81309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5770BD80-72AE-514F-B438-313000B122B2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8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9440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 with header and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885D421A-D202-7744-8213-DB7F863B2488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8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8785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or Content Highlight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72"/>
          <a:stretch/>
        </p:blipFill>
        <p:spPr>
          <a:xfrm>
            <a:off x="0" y="0"/>
            <a:ext cx="9144000" cy="4800311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4613520" y="1988820"/>
            <a:ext cx="3819280" cy="2286000"/>
          </a:xfrm>
          <a:prstGeom prst="rect">
            <a:avLst/>
          </a:prstGeom>
        </p:spPr>
        <p:txBody>
          <a:bodyPr tIns="182880" anchor="b" anchorCtr="0"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idx="13"/>
          </p:nvPr>
        </p:nvSpPr>
        <p:spPr>
          <a:xfrm>
            <a:off x="4613520" y="4511040"/>
            <a:ext cx="3819280" cy="2892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ts val="19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October 10, 2017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0"/>
            <a:ext cx="914400" cy="2315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4163" y="1988821"/>
            <a:ext cx="2725739" cy="228599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r">
              <a:defRPr sz="4000">
                <a:solidFill>
                  <a:schemeClr val="bg1"/>
                </a:solidFill>
                <a:latin typeface="Rockwell" charset="0"/>
                <a:ea typeface="Rockwell" charset="0"/>
                <a:cs typeface="Rockwel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608996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340052B9-C923-8743-A4D1-126849BDA77C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8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24078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6606704F-A133-514C-A0AC-C30D6760686A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8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83219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asic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15E54F9E-17A2-2246-A3DC-34A29212453F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2199797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9797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616176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asic Paragraph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AE60892F-A8DE-FA4D-9B13-55BBF13A5476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2199797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9797"/>
            <a:ext cx="4084637" cy="248421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58439425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620DE03E-84BF-4643-9EE0-0152C4360AC4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2193741"/>
            <a:ext cx="4084637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3741"/>
            <a:ext cx="4084320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398218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ulleted List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0E18AEB0-EBA8-1046-97FF-AE0A93460DE8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2193741"/>
            <a:ext cx="4084637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3741"/>
            <a:ext cx="4084320" cy="24902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>
                <a:latin typeface="+mn-lt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55194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08C69616-5FFC-7247-AF11-0E0FC66298D7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2191999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1999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463308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Numbered List with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BBA20E0B-48A2-8B41-AF69-00DE0AFE4491}" type="datetime4">
              <a:rPr lang="en-US" smtClean="0"/>
              <a:t>April 10, 2019</a:t>
            </a:fld>
            <a:endParaRPr lang="en-US" dirty="0"/>
          </a:p>
        </p:txBody>
      </p:sp>
      <p:pic>
        <p:nvPicPr>
          <p:cNvPr id="23" name="Picture 22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2191999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48200" y="2191999"/>
            <a:ext cx="4084637" cy="249201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baseline="0"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  <a:defRPr sz="1400"/>
            </a:lvl9pPr>
          </a:lstStyle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  <a:p>
            <a:pPr lvl="6"/>
            <a:r>
              <a:rPr lang="en-US"/>
              <a:t>Sixth level</a:t>
            </a:r>
          </a:p>
          <a:p>
            <a:pPr lvl="7"/>
            <a:r>
              <a:rPr lang="en-US"/>
              <a:t> Seventh level</a:t>
            </a:r>
          </a:p>
          <a:p>
            <a:pPr lvl="8"/>
            <a:r>
              <a:rPr lang="en-US"/>
              <a:t>Eighth level</a:t>
            </a:r>
          </a:p>
          <a:p>
            <a:pPr lvl="8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228600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2000">
                <a:latin typeface="Egyptienne F LT Std"/>
                <a:cs typeface="Egyptienne F LT Std"/>
              </a:defRPr>
            </a:lvl2pPr>
            <a:lvl3pPr marL="61264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3pPr>
            <a:lvl4pPr marL="97840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600">
                <a:latin typeface="Egyptienne F LT Std"/>
                <a:cs typeface="Egyptienne F LT Std"/>
              </a:defRPr>
            </a:lvl4pPr>
            <a:lvl5pPr marL="1344168" indent="0" algn="l">
              <a:lnSpc>
                <a:spcPct val="120000"/>
              </a:lnSpc>
              <a:spcAft>
                <a:spcPts val="600"/>
              </a:spcAft>
              <a:buFont typeface="+mj-lt"/>
              <a:buNone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48200" y="1363333"/>
            <a:ext cx="4084320" cy="733426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2000" b="1"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594360" indent="-36576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2000">
                <a:latin typeface="Egyptienne F LT Std"/>
                <a:cs typeface="Egyptienne F LT Std"/>
              </a:defRPr>
            </a:lvl2pPr>
            <a:lvl3pPr marL="91440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3pPr>
            <a:lvl4pPr marL="128016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>
                <a:latin typeface="Egyptienne F LT Std"/>
                <a:cs typeface="Egyptienne F LT Std"/>
              </a:defRPr>
            </a:lvl4pPr>
            <a:lvl5pPr marL="1645920" indent="-301752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>
                <a:latin typeface="Egyptienne F LT Std"/>
                <a:cs typeface="Egyptienne F LT Std"/>
              </a:defRPr>
            </a:lvl5pPr>
          </a:lstStyle>
          <a:p>
            <a:pPr lvl="0"/>
            <a:r>
              <a:rPr lang="en-US"/>
              <a:t>Click to edit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586581A-5C91-495F-A16B-CE88D1E6260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4572000"/>
            <a:ext cx="1264844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75717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5" name="TextBox 4"/>
          <p:cNvSpPr txBox="1"/>
          <p:nvPr userDrawn="1"/>
        </p:nvSpPr>
        <p:spPr>
          <a:xfrm>
            <a:off x="6944138" y="4671391"/>
            <a:ext cx="2080592" cy="417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57783774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A0D2BBF5-0089-384C-81BC-8AEA075245EC}" type="datetime4">
              <a:rPr lang="en-US" smtClean="0"/>
              <a:t>April 10, 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33694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with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October 10, 2017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0255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61834" y="4781810"/>
            <a:ext cx="228598" cy="138499"/>
          </a:xfrm>
          <a:prstGeom prst="rect">
            <a:avLst/>
          </a:prstGeom>
        </p:spPr>
        <p:txBody>
          <a:bodyPr anchor="ctr"/>
          <a:lstStyle>
            <a:lvl1pPr>
              <a:defRPr/>
            </a:lvl1pPr>
          </a:lstStyle>
          <a:p>
            <a:fld id="{FF74FD0C-C212-3E42-822A-D9927A3F32BB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D435A71-B753-499D-AB0C-392F813A96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567019"/>
            <a:ext cx="876560" cy="538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82755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May 30, 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D2D10-4C05-43CC-847B-26378B5EB8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451466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May 30, 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D2D10-4C05-43CC-847B-26378B5EB8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191369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May 30, 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D2D10-4C05-43CC-847B-26378B5EB8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506765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May 30, 2017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D2D10-4C05-43CC-847B-26378B5EB8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505140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May 30, 2017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D2D10-4C05-43CC-847B-26378B5EB8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87540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May 30, 2017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D2D10-4C05-43CC-847B-26378B5EB8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92289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May 30, 2017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D2D10-4C05-43CC-847B-26378B5EB8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0598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May 30, 2017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D2D10-4C05-43CC-847B-26378B5EB8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445303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May 30, 2017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D2D10-4C05-43CC-847B-26378B5EB8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16982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with bulleted list and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525549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October 10, 2017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03042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May 30, 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D2D10-4C05-43CC-847B-26378B5EB8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274225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May 30, 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D2D10-4C05-43CC-847B-26378B5EB8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161949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stryker_title_slide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096001" y="2242566"/>
            <a:ext cx="2501733" cy="130073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r">
              <a:lnSpc>
                <a:spcPct val="110000"/>
              </a:lnSpc>
              <a:spcAft>
                <a:spcPts val="0"/>
              </a:spcAft>
              <a:buNone/>
              <a:defRPr sz="2100" b="0"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3" y="2133910"/>
            <a:ext cx="4837112" cy="65754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0"/>
            <a:ext cx="914400" cy="231580"/>
          </a:xfrm>
          <a:prstGeom prst="rect">
            <a:avLst/>
          </a:prstGeom>
        </p:spPr>
      </p:pic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7454734" y="4607846"/>
            <a:ext cx="1143000" cy="153888"/>
          </a:xfrm>
        </p:spPr>
        <p:txBody>
          <a:bodyPr/>
          <a:lstStyle>
            <a:lvl1pPr algn="r">
              <a:defRPr sz="1000"/>
            </a:lvl1pPr>
          </a:lstStyle>
          <a:p>
            <a:r>
              <a:rPr lang="en-US" dirty="0"/>
              <a:t>May 30, 2017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2" y="570974"/>
            <a:ext cx="4837113" cy="1562936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defRPr sz="4400">
                <a:latin typeface="Rockwell" charset="0"/>
                <a:ea typeface="Rockwell" charset="0"/>
                <a:cs typeface="Rockwel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753601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May 30, 2017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14189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May 30, 2017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8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12717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paragraph with bulleted list and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May 30, 2017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565625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stryker_title_slide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22376" y="3086100"/>
            <a:ext cx="4840224" cy="130073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2100" b="0"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0"/>
            <a:ext cx="914400" cy="231580"/>
          </a:xfrm>
          <a:prstGeom prst="rect">
            <a:avLst/>
          </a:prstGeom>
        </p:spPr>
      </p:pic>
      <p:sp>
        <p:nvSpPr>
          <p:cNvPr id="9" name="Date Placeholder 9"/>
          <p:cNvSpPr>
            <a:spLocks noGrp="1"/>
          </p:cNvSpPr>
          <p:nvPr>
            <p:ph type="dt" sz="half" idx="2"/>
          </p:nvPr>
        </p:nvSpPr>
        <p:spPr>
          <a:xfrm>
            <a:off x="7454734" y="4607846"/>
            <a:ext cx="1143000" cy="153888"/>
          </a:xfrm>
        </p:spPr>
        <p:txBody>
          <a:bodyPr/>
          <a:lstStyle>
            <a:lvl1pPr algn="r">
              <a:defRPr sz="1000"/>
            </a:lvl1pPr>
          </a:lstStyle>
          <a:p>
            <a:r>
              <a:rPr lang="en-US" dirty="0"/>
              <a:t>May 30, 2017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3" y="2133910"/>
            <a:ext cx="4837112" cy="65754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2" y="570975"/>
            <a:ext cx="4837113" cy="1552808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defRPr sz="4400">
                <a:latin typeface="Rockwell" charset="0"/>
                <a:ea typeface="Rockwell" charset="0"/>
                <a:cs typeface="Rockwel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25894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4899" y="552450"/>
            <a:ext cx="8440158" cy="3624263"/>
          </a:xfrm>
        </p:spPr>
        <p:txBody>
          <a:bodyPr>
            <a:normAutofit/>
          </a:bodyPr>
          <a:lstStyle>
            <a:lvl1pPr marL="0" indent="0">
              <a:buNone/>
              <a:defRPr sz="1350">
                <a:solidFill>
                  <a:schemeClr val="tx1">
                    <a:lumMod val="50000"/>
                  </a:schemeClr>
                </a:solidFill>
              </a:defRPr>
            </a:lvl1pPr>
            <a:lvl2pPr marL="457085" indent="0">
              <a:buNone/>
              <a:defRPr/>
            </a:lvl2pPr>
            <a:lvl3pPr marL="914171" indent="0">
              <a:buNone/>
              <a:defRPr/>
            </a:lvl3pPr>
            <a:lvl4pPr marL="1371257" indent="0">
              <a:buNone/>
              <a:defRPr/>
            </a:lvl4pPr>
            <a:lvl5pPr marL="182834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Placeholder 2"/>
          <p:cNvSpPr>
            <a:spLocks noGrp="1"/>
          </p:cNvSpPr>
          <p:nvPr>
            <p:ph type="title"/>
          </p:nvPr>
        </p:nvSpPr>
        <p:spPr>
          <a:xfrm>
            <a:off x="533461" y="42203"/>
            <a:ext cx="8122505" cy="3876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334824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stryker_title_slide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1" y="2242566"/>
            <a:ext cx="2501733" cy="130073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r">
              <a:lnSpc>
                <a:spcPct val="110000"/>
              </a:lnSpc>
              <a:spcAft>
                <a:spcPts val="0"/>
              </a:spcAft>
              <a:buNone/>
              <a:defRPr sz="2100" b="0"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722313" y="570975"/>
            <a:ext cx="4837112" cy="1552808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tx1"/>
                </a:solidFill>
                <a:latin typeface="Rockwell" panose="02060603020205020403" pitchFamily="18" charset="0"/>
                <a:ea typeface="Rockwell" panose="02060603020205020403" pitchFamily="18" charset="0"/>
                <a:cs typeface="Rockwell" panose="02060603020205020403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3" y="2133910"/>
            <a:ext cx="4837112" cy="65754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0"/>
            <a:ext cx="914400" cy="231580"/>
          </a:xfrm>
          <a:prstGeom prst="rect">
            <a:avLst/>
          </a:prstGeom>
        </p:spPr>
      </p:pic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7454734" y="4607846"/>
            <a:ext cx="1143000" cy="153888"/>
          </a:xfrm>
        </p:spPr>
        <p:txBody>
          <a:bodyPr/>
          <a:lstStyle>
            <a:lvl1pPr algn="r">
              <a:defRPr sz="1000"/>
            </a:lvl1pPr>
          </a:lstStyle>
          <a:p>
            <a:fld id="{D42ED59C-7B8C-C749-9AE9-EDEF83B1CD9F}" type="datetime4">
              <a:rPr lang="en-US" smtClean="0"/>
              <a:pPr/>
              <a:t>April 10, 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027427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stryker_title_slide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22376" y="3086100"/>
            <a:ext cx="4840224" cy="130073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2100" b="0"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0"/>
            <a:ext cx="914400" cy="231580"/>
          </a:xfrm>
          <a:prstGeom prst="rect">
            <a:avLst/>
          </a:prstGeom>
        </p:spPr>
      </p:pic>
      <p:sp>
        <p:nvSpPr>
          <p:cNvPr id="9" name="Date Placeholder 9"/>
          <p:cNvSpPr>
            <a:spLocks noGrp="1"/>
          </p:cNvSpPr>
          <p:nvPr>
            <p:ph type="dt" sz="half" idx="2"/>
          </p:nvPr>
        </p:nvSpPr>
        <p:spPr>
          <a:xfrm>
            <a:off x="7454734" y="4607846"/>
            <a:ext cx="1143000" cy="153888"/>
          </a:xfrm>
        </p:spPr>
        <p:txBody>
          <a:bodyPr/>
          <a:lstStyle>
            <a:lvl1pPr algn="r">
              <a:defRPr sz="1000"/>
            </a:lvl1pPr>
          </a:lstStyle>
          <a:p>
            <a:fld id="{C23EF553-79CA-7648-B2BB-F3BD8E267427}" type="datetime4">
              <a:rPr lang="en-US" smtClean="0"/>
              <a:pPr/>
              <a:t>April 10, 2019</a:t>
            </a:fld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722313" y="570975"/>
            <a:ext cx="4837112" cy="1552808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tx1"/>
                </a:solidFill>
                <a:latin typeface="Rockwell" panose="02060603020205020403" pitchFamily="18" charset="0"/>
                <a:ea typeface="Rockwell" panose="02060603020205020403" pitchFamily="18" charset="0"/>
                <a:cs typeface="Rockwell" panose="02060603020205020403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722313" y="2133910"/>
            <a:ext cx="4837112" cy="65754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0985499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paragraph with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October 10, 2017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846351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or Content Highligh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1480" y="631596"/>
            <a:ext cx="6172200" cy="158555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5400">
                <a:solidFill>
                  <a:schemeClr val="bg2"/>
                </a:solidFill>
                <a:latin typeface="Rockwell" panose="02060603020205020403" pitchFamily="18" charset="0"/>
                <a:cs typeface="Rockwell" panose="02060603020205020403" pitchFamily="18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E2F97B1C-54C9-7E4D-9B47-365FCA55031D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11163" y="2434590"/>
            <a:ext cx="6172200" cy="141192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100">
                <a:solidFill>
                  <a:schemeClr val="tx1"/>
                </a:solidFill>
                <a:latin typeface="+mj-lt"/>
                <a:ea typeface="Futura For Stryker" charset="0"/>
                <a:cs typeface="Futura For Stryker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459514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or Content Highligh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815"/>
          <a:stretch/>
        </p:blipFill>
        <p:spPr>
          <a:xfrm>
            <a:off x="0" y="0"/>
            <a:ext cx="9144000" cy="458724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92080" y="2552700"/>
            <a:ext cx="3139200" cy="1546860"/>
          </a:xfrm>
          <a:prstGeom prst="rect">
            <a:avLst/>
          </a:prstGeom>
        </p:spPr>
        <p:txBody>
          <a:bodyPr tIns="182880" anchor="b" anchorCtr="0"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8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5792080" y="4236720"/>
            <a:ext cx="3139200" cy="35052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ts val="19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772161" y="2552700"/>
            <a:ext cx="4771390" cy="1546622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r">
              <a:buFontTx/>
              <a:buNone/>
              <a:defRPr sz="4000">
                <a:solidFill>
                  <a:schemeClr val="bg2"/>
                </a:solidFill>
                <a:latin typeface="Rockwell" panose="02060603020205020403" pitchFamily="18" charset="0"/>
                <a:ea typeface="Rockwell" panose="02060603020205020403" pitchFamily="18" charset="0"/>
                <a:cs typeface="Rockwell" panose="02060603020205020403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AC499524-A10B-9845-B316-65CC9E4D83E2}" type="datetime4">
              <a:rPr lang="en-US" smtClean="0"/>
              <a:t>April 10, 2019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0"/>
            <a:ext cx="914400" cy="231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05939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or Content Highlight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72"/>
          <a:stretch/>
        </p:blipFill>
        <p:spPr>
          <a:xfrm>
            <a:off x="0" y="0"/>
            <a:ext cx="9144000" cy="4800311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13520" y="1988820"/>
            <a:ext cx="3819280" cy="2286000"/>
          </a:xfrm>
          <a:prstGeom prst="rect">
            <a:avLst/>
          </a:prstGeom>
        </p:spPr>
        <p:txBody>
          <a:bodyPr tIns="182880" anchor="b" anchorCtr="0"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613520" y="4511040"/>
            <a:ext cx="3819280" cy="2892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ts val="1900"/>
              </a:lnSpc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Cambria" panose="02040503050406030204" pitchFamily="18" charset="0"/>
                <a:cs typeface="Cambria" panose="02040503050406030204" pitchFamily="18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1554164" y="1988344"/>
            <a:ext cx="2725737" cy="2286000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r">
              <a:buFontTx/>
              <a:buNone/>
              <a:defRPr sz="4000">
                <a:solidFill>
                  <a:schemeClr val="bg1"/>
                </a:solidFill>
                <a:latin typeface="Rockwell" panose="02060603020205020403" pitchFamily="18" charset="0"/>
                <a:ea typeface="Rockwell" panose="02060603020205020403" pitchFamily="18" charset="0"/>
                <a:cs typeface="Rockwell" panose="02060603020205020403" pitchFamily="18" charset="0"/>
              </a:defRPr>
            </a:lvl1pPr>
            <a:lvl2pPr marL="228600" indent="0" algn="r">
              <a:buFontTx/>
              <a:buNone/>
              <a:defRPr/>
            </a:lvl2pPr>
            <a:lvl3pPr marL="457200" indent="0" algn="r">
              <a:buFontTx/>
              <a:buNone/>
              <a:defRPr/>
            </a:lvl3pPr>
            <a:lvl4pPr marL="685800" indent="0" algn="r">
              <a:buFontTx/>
              <a:buNone/>
              <a:defRPr/>
            </a:lvl4pPr>
            <a:lvl5pPr marL="914400" indent="0" algn="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B8FE1A2F-547E-FB4D-A24B-3C228FCD75D1}" type="datetime4">
              <a:rPr lang="en-US" smtClean="0"/>
              <a:t>April 10, 2019</a:t>
            </a:fld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2420" y="269240"/>
            <a:ext cx="914400" cy="231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30371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with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0F5AC35F-CA45-D445-8225-37E1467C2279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1163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460866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with bulleted list and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03166EC9-30B9-AB4E-8865-1AFECE1152A6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1163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51889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paragraph with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C53DF27E-CC5C-E045-9D6C-87815FF2BACF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1163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77AD4C6-2367-4CEE-9A1E-EB06956DFA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572000"/>
            <a:ext cx="1264844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79688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paragraph with bulleted list and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CEB5A13D-946F-CB4C-ADF8-08CA7190397D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1163" y="1363599"/>
            <a:ext cx="8351521" cy="3320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+mn-lt"/>
                <a:ea typeface="Cambria" charset="0"/>
                <a:cs typeface="Cambria" charset="0"/>
              </a:defRPr>
            </a:lvl1pPr>
            <a:lvl2pPr marL="228600" algn="l">
              <a:lnSpc>
                <a:spcPct val="120000"/>
              </a:lnSpc>
              <a:spcAft>
                <a:spcPts val="600"/>
              </a:spcAft>
              <a:defRPr/>
            </a:lvl2pPr>
            <a:lvl3pPr marL="457200" indent="-228600" algn="l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/>
            </a:lvl3pPr>
            <a:lvl4pPr marL="685800" indent="-228600" algn="l">
              <a:lnSpc>
                <a:spcPct val="12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4pPr>
            <a:lvl5pPr marL="914400" indent="-228600" algn="l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 sz="1600"/>
            </a:lvl5pPr>
            <a:lvl6pPr marL="1143000" indent="-228600">
              <a:lnSpc>
                <a:spcPct val="120000"/>
              </a:lnSpc>
              <a:spcAft>
                <a:spcPts val="600"/>
              </a:spcAft>
              <a:buFont typeface="Courier New" charset="0"/>
              <a:buChar char="o"/>
              <a:defRPr sz="1400"/>
            </a:lvl6pPr>
            <a:lvl7pPr marL="1371600" indent="-228600">
              <a:lnSpc>
                <a:spcPct val="120000"/>
              </a:lnSpc>
              <a:spcAft>
                <a:spcPts val="600"/>
              </a:spcAft>
              <a:buFont typeface="Cambria" charset="0"/>
              <a:buChar char="–"/>
              <a:defRPr sz="1400"/>
            </a:lvl7pPr>
            <a:lvl8pPr marL="16002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sz="1400"/>
            </a:lvl8pPr>
            <a:lvl9pPr marL="1828800" indent="-228600">
              <a:lnSpc>
                <a:spcPct val="120000"/>
              </a:lnSpc>
              <a:buFont typeface="Courier New" charset="0"/>
              <a:buChar char="o"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424932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5770BD80-72AE-514F-B438-313000B122B2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1163" y="1363598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58656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 with header and dimensional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imensional Frame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"/>
          <a:stretch/>
        </p:blipFill>
        <p:spPr>
          <a:xfrm>
            <a:off x="27203" y="1158466"/>
            <a:ext cx="9106638" cy="3751898"/>
          </a:xfrm>
          <a:prstGeom prst="rect">
            <a:avLst/>
          </a:prstGeom>
        </p:spPr>
      </p:pic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885D421A-D202-7744-8213-DB7F863B2488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1163" y="1363598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1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80699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340052B9-C923-8743-A4D1-126849BDA77C}" type="datetime4">
              <a:rPr lang="en-US" smtClean="0"/>
              <a:t>April 10, 2019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1163" y="1363598"/>
            <a:ext cx="8351837" cy="33036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20000"/>
              </a:lnSpc>
              <a:spcAft>
                <a:spcPts val="600"/>
              </a:spcAft>
              <a:defRPr sz="1800" b="0" i="0">
                <a:latin typeface="Cambria" charset="0"/>
                <a:ea typeface="Cambria" charset="0"/>
                <a:cs typeface="Cambria" charset="0"/>
              </a:defRPr>
            </a:lvl1pPr>
            <a:lvl2pPr marL="3429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/>
            </a:lvl2pPr>
            <a:lvl3pPr marL="5715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/>
            </a:lvl3pPr>
            <a:lvl4pPr marL="8001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600"/>
            </a:lvl4pPr>
            <a:lvl5pPr marL="1028700" indent="-342900" algn="l">
              <a:lnSpc>
                <a:spcPct val="120000"/>
              </a:lnSpc>
              <a:spcAft>
                <a:spcPts val="600"/>
              </a:spcAft>
              <a:buFont typeface="+mj-lt"/>
              <a:buAutoNum type="alphaLcPeriod"/>
              <a:defRPr sz="1600"/>
            </a:lvl5pPr>
            <a:lvl6pPr marL="1257300" indent="-342900">
              <a:lnSpc>
                <a:spcPct val="120000"/>
              </a:lnSpc>
              <a:spcAft>
                <a:spcPts val="600"/>
              </a:spcAft>
              <a:buFont typeface="+mj-lt"/>
              <a:buAutoNum type="arabicPeriod"/>
              <a:defRPr sz="1400"/>
            </a:lvl6pPr>
            <a:lvl7pPr marL="1485900" indent="-342900">
              <a:lnSpc>
                <a:spcPct val="120000"/>
              </a:lnSpc>
              <a:spcAft>
                <a:spcPts val="600"/>
              </a:spcAft>
              <a:buFont typeface="+mj-lt"/>
              <a:buAutoNum type="alphaUcPeriod"/>
              <a:defRPr sz="1400"/>
            </a:lvl7pPr>
            <a:lvl8pPr marL="1714500" indent="-3429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/>
            </a:lvl8pPr>
            <a:lvl9pPr marL="1943100" indent="-342900">
              <a:lnSpc>
                <a:spcPct val="120000"/>
              </a:lnSpc>
              <a:spcBef>
                <a:spcPts val="0"/>
              </a:spcBef>
              <a:buFont typeface="+mj-lt"/>
              <a:buAutoNum type="alphaLcParenR"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 Eighth level</a:t>
            </a:r>
          </a:p>
          <a:p>
            <a:pPr lvl="8"/>
            <a:r>
              <a:rPr lang="en-US"/>
              <a:t>Ninth level</a:t>
            </a:r>
          </a:p>
          <a:p>
            <a:pPr lvl="8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1480" y="367146"/>
            <a:ext cx="6858000" cy="876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j-lt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0153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3.xml"/><Relationship Id="rId13" Type="http://schemas.openxmlformats.org/officeDocument/2006/relationships/slideLayout" Target="../slideLayouts/slideLayout228.xml"/><Relationship Id="rId3" Type="http://schemas.openxmlformats.org/officeDocument/2006/relationships/slideLayout" Target="../slideLayouts/slideLayout218.xml"/><Relationship Id="rId7" Type="http://schemas.openxmlformats.org/officeDocument/2006/relationships/slideLayout" Target="../slideLayouts/slideLayout222.xml"/><Relationship Id="rId12" Type="http://schemas.openxmlformats.org/officeDocument/2006/relationships/slideLayout" Target="../slideLayouts/slideLayout227.xml"/><Relationship Id="rId2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216.xml"/><Relationship Id="rId6" Type="http://schemas.openxmlformats.org/officeDocument/2006/relationships/slideLayout" Target="../slideLayouts/slideLayout221.xml"/><Relationship Id="rId11" Type="http://schemas.openxmlformats.org/officeDocument/2006/relationships/slideLayout" Target="../slideLayouts/slideLayout226.xml"/><Relationship Id="rId5" Type="http://schemas.openxmlformats.org/officeDocument/2006/relationships/slideLayout" Target="../slideLayouts/slideLayout220.xml"/><Relationship Id="rId10" Type="http://schemas.openxmlformats.org/officeDocument/2006/relationships/slideLayout" Target="../slideLayouts/slideLayout225.xml"/><Relationship Id="rId4" Type="http://schemas.openxmlformats.org/officeDocument/2006/relationships/slideLayout" Target="../slideLayouts/slideLayout219.xml"/><Relationship Id="rId9" Type="http://schemas.openxmlformats.org/officeDocument/2006/relationships/slideLayout" Target="../slideLayouts/slideLayout224.xml"/><Relationship Id="rId14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theme" Target="../theme/theme4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8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07.xml"/><Relationship Id="rId29" Type="http://schemas.openxmlformats.org/officeDocument/2006/relationships/theme" Target="../theme/theme6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26" Type="http://schemas.openxmlformats.org/officeDocument/2006/relationships/slideLayout" Target="../slideLayouts/slideLayout141.xml"/><Relationship Id="rId39" Type="http://schemas.openxmlformats.org/officeDocument/2006/relationships/slideLayout" Target="../slideLayouts/slideLayout154.xml"/><Relationship Id="rId21" Type="http://schemas.openxmlformats.org/officeDocument/2006/relationships/slideLayout" Target="../slideLayouts/slideLayout136.xml"/><Relationship Id="rId34" Type="http://schemas.openxmlformats.org/officeDocument/2006/relationships/slideLayout" Target="../slideLayouts/slideLayout149.xml"/><Relationship Id="rId42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22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slideLayout" Target="../slideLayouts/slideLayout135.xml"/><Relationship Id="rId29" Type="http://schemas.openxmlformats.org/officeDocument/2006/relationships/slideLayout" Target="../slideLayouts/slideLayout144.xml"/><Relationship Id="rId41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24" Type="http://schemas.openxmlformats.org/officeDocument/2006/relationships/slideLayout" Target="../slideLayouts/slideLayout139.xml"/><Relationship Id="rId32" Type="http://schemas.openxmlformats.org/officeDocument/2006/relationships/slideLayout" Target="../slideLayouts/slideLayout147.xml"/><Relationship Id="rId37" Type="http://schemas.openxmlformats.org/officeDocument/2006/relationships/slideLayout" Target="../slideLayouts/slideLayout152.xml"/><Relationship Id="rId40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23" Type="http://schemas.openxmlformats.org/officeDocument/2006/relationships/slideLayout" Target="../slideLayouts/slideLayout138.xml"/><Relationship Id="rId28" Type="http://schemas.openxmlformats.org/officeDocument/2006/relationships/slideLayout" Target="../slideLayouts/slideLayout143.xml"/><Relationship Id="rId36" Type="http://schemas.openxmlformats.org/officeDocument/2006/relationships/slideLayout" Target="../slideLayouts/slideLayout151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31" Type="http://schemas.openxmlformats.org/officeDocument/2006/relationships/slideLayout" Target="../slideLayouts/slideLayout146.xml"/><Relationship Id="rId44" Type="http://schemas.openxmlformats.org/officeDocument/2006/relationships/image" Target="../media/image1.png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Relationship Id="rId22" Type="http://schemas.openxmlformats.org/officeDocument/2006/relationships/slideLayout" Target="../slideLayouts/slideLayout137.xml"/><Relationship Id="rId27" Type="http://schemas.openxmlformats.org/officeDocument/2006/relationships/slideLayout" Target="../slideLayouts/slideLayout142.xml"/><Relationship Id="rId30" Type="http://schemas.openxmlformats.org/officeDocument/2006/relationships/slideLayout" Target="../slideLayouts/slideLayout145.xml"/><Relationship Id="rId35" Type="http://schemas.openxmlformats.org/officeDocument/2006/relationships/slideLayout" Target="../slideLayouts/slideLayout150.xml"/><Relationship Id="rId43" Type="http://schemas.openxmlformats.org/officeDocument/2006/relationships/theme" Target="../theme/theme7.xml"/><Relationship Id="rId8" Type="http://schemas.openxmlformats.org/officeDocument/2006/relationships/slideLayout" Target="../slideLayouts/slideLayout123.xml"/><Relationship Id="rId3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5" Type="http://schemas.openxmlformats.org/officeDocument/2006/relationships/slideLayout" Target="../slideLayouts/slideLayout140.xml"/><Relationship Id="rId33" Type="http://schemas.openxmlformats.org/officeDocument/2006/relationships/slideLayout" Target="../slideLayouts/slideLayout148.xml"/><Relationship Id="rId38" Type="http://schemas.openxmlformats.org/officeDocument/2006/relationships/slideLayout" Target="../slideLayouts/slideLayout15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.xml"/><Relationship Id="rId13" Type="http://schemas.openxmlformats.org/officeDocument/2006/relationships/slideLayout" Target="../slideLayouts/slideLayout170.xml"/><Relationship Id="rId18" Type="http://schemas.openxmlformats.org/officeDocument/2006/relationships/slideLayout" Target="../slideLayouts/slideLayout175.xml"/><Relationship Id="rId3" Type="http://schemas.openxmlformats.org/officeDocument/2006/relationships/slideLayout" Target="../slideLayouts/slideLayout160.xml"/><Relationship Id="rId7" Type="http://schemas.openxmlformats.org/officeDocument/2006/relationships/slideLayout" Target="../slideLayouts/slideLayout164.xml"/><Relationship Id="rId12" Type="http://schemas.openxmlformats.org/officeDocument/2006/relationships/slideLayout" Target="../slideLayouts/slideLayout169.xml"/><Relationship Id="rId17" Type="http://schemas.openxmlformats.org/officeDocument/2006/relationships/slideLayout" Target="../slideLayouts/slideLayout174.xml"/><Relationship Id="rId2" Type="http://schemas.openxmlformats.org/officeDocument/2006/relationships/slideLayout" Target="../slideLayouts/slideLayout159.xml"/><Relationship Id="rId16" Type="http://schemas.openxmlformats.org/officeDocument/2006/relationships/slideLayout" Target="../slideLayouts/slideLayout173.xml"/><Relationship Id="rId20" Type="http://schemas.openxmlformats.org/officeDocument/2006/relationships/image" Target="../media/image15.png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slideLayout" Target="../slideLayouts/slideLayout168.xml"/><Relationship Id="rId5" Type="http://schemas.openxmlformats.org/officeDocument/2006/relationships/slideLayout" Target="../slideLayouts/slideLayout162.xml"/><Relationship Id="rId15" Type="http://schemas.openxmlformats.org/officeDocument/2006/relationships/slideLayout" Target="../slideLayouts/slideLayout172.xml"/><Relationship Id="rId10" Type="http://schemas.openxmlformats.org/officeDocument/2006/relationships/slideLayout" Target="../slideLayouts/slideLayout167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161.xml"/><Relationship Id="rId9" Type="http://schemas.openxmlformats.org/officeDocument/2006/relationships/slideLayout" Target="../slideLayouts/slideLayout166.xml"/><Relationship Id="rId14" Type="http://schemas.openxmlformats.org/officeDocument/2006/relationships/slideLayout" Target="../slideLayouts/slideLayout171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8.xml"/><Relationship Id="rId18" Type="http://schemas.openxmlformats.org/officeDocument/2006/relationships/slideLayout" Target="../slideLayouts/slideLayout193.xml"/><Relationship Id="rId26" Type="http://schemas.openxmlformats.org/officeDocument/2006/relationships/slideLayout" Target="../slideLayouts/slideLayout201.xml"/><Relationship Id="rId39" Type="http://schemas.openxmlformats.org/officeDocument/2006/relationships/slideLayout" Target="../slideLayouts/slideLayout214.xml"/><Relationship Id="rId21" Type="http://schemas.openxmlformats.org/officeDocument/2006/relationships/slideLayout" Target="../slideLayouts/slideLayout196.xml"/><Relationship Id="rId34" Type="http://schemas.openxmlformats.org/officeDocument/2006/relationships/slideLayout" Target="../slideLayouts/slideLayout209.xml"/><Relationship Id="rId42" Type="http://schemas.openxmlformats.org/officeDocument/2006/relationships/image" Target="../media/image1.png"/><Relationship Id="rId7" Type="http://schemas.openxmlformats.org/officeDocument/2006/relationships/slideLayout" Target="../slideLayouts/slideLayout182.xml"/><Relationship Id="rId2" Type="http://schemas.openxmlformats.org/officeDocument/2006/relationships/slideLayout" Target="../slideLayouts/slideLayout177.xml"/><Relationship Id="rId16" Type="http://schemas.openxmlformats.org/officeDocument/2006/relationships/slideLayout" Target="../slideLayouts/slideLayout191.xml"/><Relationship Id="rId20" Type="http://schemas.openxmlformats.org/officeDocument/2006/relationships/slideLayout" Target="../slideLayouts/slideLayout195.xml"/><Relationship Id="rId29" Type="http://schemas.openxmlformats.org/officeDocument/2006/relationships/slideLayout" Target="../slideLayouts/slideLayout204.xml"/><Relationship Id="rId41" Type="http://schemas.openxmlformats.org/officeDocument/2006/relationships/theme" Target="../theme/theme9.xml"/><Relationship Id="rId1" Type="http://schemas.openxmlformats.org/officeDocument/2006/relationships/slideLayout" Target="../slideLayouts/slideLayout176.xml"/><Relationship Id="rId6" Type="http://schemas.openxmlformats.org/officeDocument/2006/relationships/slideLayout" Target="../slideLayouts/slideLayout181.xml"/><Relationship Id="rId11" Type="http://schemas.openxmlformats.org/officeDocument/2006/relationships/slideLayout" Target="../slideLayouts/slideLayout186.xml"/><Relationship Id="rId24" Type="http://schemas.openxmlformats.org/officeDocument/2006/relationships/slideLayout" Target="../slideLayouts/slideLayout199.xml"/><Relationship Id="rId32" Type="http://schemas.openxmlformats.org/officeDocument/2006/relationships/slideLayout" Target="../slideLayouts/slideLayout207.xml"/><Relationship Id="rId37" Type="http://schemas.openxmlformats.org/officeDocument/2006/relationships/slideLayout" Target="../slideLayouts/slideLayout212.xml"/><Relationship Id="rId40" Type="http://schemas.openxmlformats.org/officeDocument/2006/relationships/slideLayout" Target="../slideLayouts/slideLayout215.xml"/><Relationship Id="rId5" Type="http://schemas.openxmlformats.org/officeDocument/2006/relationships/slideLayout" Target="../slideLayouts/slideLayout180.xml"/><Relationship Id="rId15" Type="http://schemas.openxmlformats.org/officeDocument/2006/relationships/slideLayout" Target="../slideLayouts/slideLayout190.xml"/><Relationship Id="rId23" Type="http://schemas.openxmlformats.org/officeDocument/2006/relationships/slideLayout" Target="../slideLayouts/slideLayout198.xml"/><Relationship Id="rId28" Type="http://schemas.openxmlformats.org/officeDocument/2006/relationships/slideLayout" Target="../slideLayouts/slideLayout203.xml"/><Relationship Id="rId36" Type="http://schemas.openxmlformats.org/officeDocument/2006/relationships/slideLayout" Target="../slideLayouts/slideLayout211.xml"/><Relationship Id="rId10" Type="http://schemas.openxmlformats.org/officeDocument/2006/relationships/slideLayout" Target="../slideLayouts/slideLayout185.xml"/><Relationship Id="rId19" Type="http://schemas.openxmlformats.org/officeDocument/2006/relationships/slideLayout" Target="../slideLayouts/slideLayout194.xml"/><Relationship Id="rId31" Type="http://schemas.openxmlformats.org/officeDocument/2006/relationships/slideLayout" Target="../slideLayouts/slideLayout206.xml"/><Relationship Id="rId4" Type="http://schemas.openxmlformats.org/officeDocument/2006/relationships/slideLayout" Target="../slideLayouts/slideLayout179.xml"/><Relationship Id="rId9" Type="http://schemas.openxmlformats.org/officeDocument/2006/relationships/slideLayout" Target="../slideLayouts/slideLayout184.xml"/><Relationship Id="rId14" Type="http://schemas.openxmlformats.org/officeDocument/2006/relationships/slideLayout" Target="../slideLayouts/slideLayout189.xml"/><Relationship Id="rId22" Type="http://schemas.openxmlformats.org/officeDocument/2006/relationships/slideLayout" Target="../slideLayouts/slideLayout197.xml"/><Relationship Id="rId27" Type="http://schemas.openxmlformats.org/officeDocument/2006/relationships/slideLayout" Target="../slideLayouts/slideLayout202.xml"/><Relationship Id="rId30" Type="http://schemas.openxmlformats.org/officeDocument/2006/relationships/slideLayout" Target="../slideLayouts/slideLayout205.xml"/><Relationship Id="rId35" Type="http://schemas.openxmlformats.org/officeDocument/2006/relationships/slideLayout" Target="../slideLayouts/slideLayout210.xml"/><Relationship Id="rId8" Type="http://schemas.openxmlformats.org/officeDocument/2006/relationships/slideLayout" Target="../slideLayouts/slideLayout183.xml"/><Relationship Id="rId3" Type="http://schemas.openxmlformats.org/officeDocument/2006/relationships/slideLayout" Target="../slideLayouts/slideLayout178.xml"/><Relationship Id="rId12" Type="http://schemas.openxmlformats.org/officeDocument/2006/relationships/slideLayout" Target="../slideLayouts/slideLayout187.xml"/><Relationship Id="rId17" Type="http://schemas.openxmlformats.org/officeDocument/2006/relationships/slideLayout" Target="../slideLayouts/slideLayout192.xml"/><Relationship Id="rId25" Type="http://schemas.openxmlformats.org/officeDocument/2006/relationships/slideLayout" Target="../slideLayouts/slideLayout200.xml"/><Relationship Id="rId33" Type="http://schemas.openxmlformats.org/officeDocument/2006/relationships/slideLayout" Target="../slideLayouts/slideLayout208.xml"/><Relationship Id="rId38" Type="http://schemas.openxmlformats.org/officeDocument/2006/relationships/slideLayout" Target="../slideLayouts/slideLayout2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October 10, 2017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7932420" y="269240"/>
            <a:ext cx="914400" cy="231580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-3627120" y="0"/>
            <a:ext cx="35052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-3371849" y="2197669"/>
            <a:ext cx="2994660" cy="2407987"/>
            <a:chOff x="-3067050" y="2123880"/>
            <a:chExt cx="2606040" cy="2095500"/>
          </a:xfrm>
        </p:grpSpPr>
        <p:sp>
          <p:nvSpPr>
            <p:cNvPr id="8" name="Rectangle 7"/>
            <p:cNvSpPr/>
            <p:nvPr userDrawn="1"/>
          </p:nvSpPr>
          <p:spPr>
            <a:xfrm>
              <a:off x="-3067050" y="2123880"/>
              <a:ext cx="472440" cy="472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</a:rPr>
                <a:t>100%</a:t>
              </a: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-2533650" y="2123880"/>
              <a:ext cx="472440" cy="472440"/>
            </a:xfrm>
            <a:prstGeom prst="rect">
              <a:avLst/>
            </a:prstGeom>
            <a:solidFill>
              <a:srgbClr val="BF8A3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0%</a:t>
              </a: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-2000250" y="2123880"/>
              <a:ext cx="472440" cy="472440"/>
            </a:xfrm>
            <a:prstGeom prst="rect">
              <a:avLst/>
            </a:prstGeom>
            <a:solidFill>
              <a:srgbClr val="CFA768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60%</a:t>
              </a: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-1466850" y="2123880"/>
              <a:ext cx="472440" cy="472440"/>
            </a:xfrm>
            <a:prstGeom prst="rect">
              <a:avLst/>
            </a:prstGeom>
            <a:solidFill>
              <a:srgbClr val="DFC59B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40%</a:t>
              </a: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-933450" y="2123880"/>
              <a:ext cx="472440" cy="472440"/>
            </a:xfrm>
            <a:prstGeom prst="rect">
              <a:avLst/>
            </a:prstGeom>
            <a:solidFill>
              <a:srgbClr val="EFE2CD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20%</a:t>
              </a: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-3067050" y="2664900"/>
              <a:ext cx="472440" cy="472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0%</a:t>
              </a: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-2533650" y="2664900"/>
              <a:ext cx="472440" cy="472440"/>
            </a:xfrm>
            <a:prstGeom prst="rect">
              <a:avLst/>
            </a:prstGeom>
            <a:solidFill>
              <a:srgbClr val="9D6AA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0%</a:t>
              </a: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-2000250" y="2664900"/>
              <a:ext cx="472440" cy="472440"/>
            </a:xfrm>
            <a:prstGeom prst="rect">
              <a:avLst/>
            </a:prstGeom>
            <a:solidFill>
              <a:srgbClr val="B68FB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60%</a:t>
              </a: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-1466850" y="2664900"/>
              <a:ext cx="472440" cy="472440"/>
            </a:xfrm>
            <a:prstGeom prst="rect">
              <a:avLst/>
            </a:prstGeom>
            <a:solidFill>
              <a:srgbClr val="CEB5D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40%</a:t>
              </a: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-933450" y="2664900"/>
              <a:ext cx="472440" cy="472440"/>
            </a:xfrm>
            <a:prstGeom prst="rect">
              <a:avLst/>
            </a:prstGeom>
            <a:solidFill>
              <a:srgbClr val="E7DAE8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20%</a:t>
              </a: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-3067050" y="3205920"/>
              <a:ext cx="472440" cy="472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0%</a:t>
              </a: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-2533650" y="3205920"/>
              <a:ext cx="472440" cy="472440"/>
            </a:xfrm>
            <a:prstGeom prst="rect">
              <a:avLst/>
            </a:prstGeom>
            <a:solidFill>
              <a:srgbClr val="49789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0%</a:t>
              </a:r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-2000250" y="3205920"/>
              <a:ext cx="472440" cy="472440"/>
            </a:xfrm>
            <a:prstGeom prst="rect">
              <a:avLst/>
            </a:prstGeom>
            <a:solidFill>
              <a:srgbClr val="779AB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60%</a:t>
              </a: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-1466850" y="3205920"/>
              <a:ext cx="472440" cy="472440"/>
            </a:xfrm>
            <a:prstGeom prst="rect">
              <a:avLst/>
            </a:prstGeom>
            <a:solidFill>
              <a:srgbClr val="A4BBC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40%</a:t>
              </a:r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-933450" y="3205920"/>
              <a:ext cx="472440" cy="472440"/>
            </a:xfrm>
            <a:prstGeom prst="rect">
              <a:avLst/>
            </a:prstGeom>
            <a:solidFill>
              <a:srgbClr val="C9DDE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20%</a:t>
              </a:r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-3067050" y="3746940"/>
              <a:ext cx="472440" cy="4724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100%</a:t>
              </a: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-2533650" y="3746940"/>
              <a:ext cx="472440" cy="472440"/>
            </a:xfrm>
            <a:prstGeom prst="rect">
              <a:avLst/>
            </a:prstGeom>
            <a:solidFill>
              <a:srgbClr val="70979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80%</a:t>
              </a:r>
            </a:p>
          </p:txBody>
        </p:sp>
        <p:sp>
          <p:nvSpPr>
            <p:cNvPr id="29" name="Rectangle 28"/>
            <p:cNvSpPr/>
            <p:nvPr userDrawn="1"/>
          </p:nvSpPr>
          <p:spPr>
            <a:xfrm>
              <a:off x="-2000250" y="3746940"/>
              <a:ext cx="472440" cy="472440"/>
            </a:xfrm>
            <a:prstGeom prst="rect">
              <a:avLst/>
            </a:prstGeom>
            <a:solidFill>
              <a:srgbClr val="94B1A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60%</a:t>
              </a:r>
            </a:p>
          </p:txBody>
        </p:sp>
        <p:sp>
          <p:nvSpPr>
            <p:cNvPr id="30" name="Rectangle 29"/>
            <p:cNvSpPr/>
            <p:nvPr userDrawn="1"/>
          </p:nvSpPr>
          <p:spPr>
            <a:xfrm>
              <a:off x="-1466850" y="3746940"/>
              <a:ext cx="472440" cy="472440"/>
            </a:xfrm>
            <a:prstGeom prst="rect">
              <a:avLst/>
            </a:prstGeom>
            <a:solidFill>
              <a:srgbClr val="B7CBCA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40%</a:t>
              </a:r>
            </a:p>
          </p:txBody>
        </p:sp>
        <p:sp>
          <p:nvSpPr>
            <p:cNvPr id="31" name="Rectangle 30"/>
            <p:cNvSpPr/>
            <p:nvPr userDrawn="1"/>
          </p:nvSpPr>
          <p:spPr>
            <a:xfrm>
              <a:off x="-933450" y="3746940"/>
              <a:ext cx="472440" cy="472440"/>
            </a:xfrm>
            <a:prstGeom prst="rect">
              <a:avLst/>
            </a:prstGeom>
            <a:solidFill>
              <a:srgbClr val="DBE5E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20%</a:t>
              </a:r>
            </a:p>
          </p:txBody>
        </p:sp>
      </p:grpSp>
      <p:sp>
        <p:nvSpPr>
          <p:cNvPr id="32" name="TextBox 31"/>
          <p:cNvSpPr txBox="1"/>
          <p:nvPr userDrawn="1"/>
        </p:nvSpPr>
        <p:spPr>
          <a:xfrm>
            <a:off x="-3371850" y="454012"/>
            <a:ext cx="2994660" cy="1692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100" b="1" baseline="0" dirty="0"/>
              <a:t>Filling shapes and charts with branded colors</a:t>
            </a:r>
          </a:p>
          <a:p>
            <a:pPr marL="0" indent="0">
              <a:buNone/>
            </a:pPr>
            <a:endParaRPr lang="en-US" sz="1100" baseline="0" dirty="0"/>
          </a:p>
          <a:p>
            <a:pPr marL="228600" indent="-228600">
              <a:buAutoNum type="arabicParenR"/>
            </a:pPr>
            <a:r>
              <a:rPr lang="en-US" sz="1100" baseline="0" dirty="0"/>
              <a:t>Create shape</a:t>
            </a:r>
          </a:p>
          <a:p>
            <a:pPr marL="228600" indent="-228600">
              <a:buAutoNum type="arabicParenR"/>
            </a:pPr>
            <a:r>
              <a:rPr lang="en-US" sz="1100" baseline="0" dirty="0"/>
              <a:t>With new shape selected, within ‘Format’ tab, select ‘Shape Fill’ drop down</a:t>
            </a:r>
          </a:p>
          <a:p>
            <a:pPr marL="228600" indent="-228600">
              <a:buAutoNum type="arabicParenR"/>
            </a:pPr>
            <a:r>
              <a:rPr lang="en-US" sz="1100" dirty="0"/>
              <a:t>Select ‘Eyedropper’ tool</a:t>
            </a:r>
          </a:p>
          <a:p>
            <a:pPr marL="228600" indent="-228600">
              <a:buAutoNum type="arabicParenR"/>
            </a:pPr>
            <a:r>
              <a:rPr lang="en-US" sz="1100" dirty="0"/>
              <a:t>Click on desired shade</a:t>
            </a:r>
            <a:r>
              <a:rPr lang="en-US" sz="1100" baseline="0" dirty="0"/>
              <a:t> below</a:t>
            </a:r>
          </a:p>
          <a:p>
            <a:pPr marL="228600" indent="-228600">
              <a:buAutoNum type="arabicParenR"/>
            </a:pPr>
            <a:r>
              <a:rPr lang="en-US" sz="1100" baseline="0" dirty="0"/>
              <a:t>Your new shape will change colors based on your selection</a:t>
            </a:r>
            <a:endParaRPr lang="en-US" sz="1100" dirty="0"/>
          </a:p>
          <a:p>
            <a:pPr marL="228600" indent="-228600">
              <a:buAutoNum type="arabicParenR"/>
            </a:pPr>
            <a:endParaRPr lang="en-US" sz="1100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55593F9-794A-4330-BF79-6BBDD3FD92DA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0" y="4572000"/>
            <a:ext cx="1264844" cy="5715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901" r:id="rId4"/>
    <p:sldLayoutId id="2147483775" r:id="rId5"/>
    <p:sldLayoutId id="2147483776" r:id="rId6"/>
    <p:sldLayoutId id="2147483761" r:id="rId7"/>
    <p:sldLayoutId id="2147483873" r:id="rId8"/>
    <p:sldLayoutId id="2147483871" r:id="rId9"/>
    <p:sldLayoutId id="2147483872" r:id="rId10"/>
    <p:sldLayoutId id="2147483857" r:id="rId11"/>
    <p:sldLayoutId id="2147483874" r:id="rId12"/>
    <p:sldLayoutId id="2147483867" r:id="rId13"/>
    <p:sldLayoutId id="2147483875" r:id="rId14"/>
    <p:sldLayoutId id="2147483858" r:id="rId15"/>
    <p:sldLayoutId id="2147483876" r:id="rId16"/>
    <p:sldLayoutId id="2147483865" r:id="rId17"/>
    <p:sldLayoutId id="2147483877" r:id="rId18"/>
    <p:sldLayoutId id="2147483864" r:id="rId19"/>
    <p:sldLayoutId id="2147483878" r:id="rId20"/>
    <p:sldLayoutId id="2147483859" r:id="rId21"/>
    <p:sldLayoutId id="2147483860" r:id="rId22"/>
    <p:sldLayoutId id="2147483880" r:id="rId23"/>
    <p:sldLayoutId id="2147483881" r:id="rId24"/>
    <p:sldLayoutId id="2147483882" r:id="rId25"/>
  </p:sldLayoutIdLst>
  <p:hf sldNum="0" hdr="0" ftr="0"/>
  <p:txStyles>
    <p:titleStyle>
      <a:lvl1pPr algn="l" rtl="0" eaLnBrk="1" fontAlgn="base" hangingPunct="1">
        <a:spcBef>
          <a:spcPct val="0"/>
        </a:spcBef>
        <a:spcAft>
          <a:spcPts val="2000"/>
        </a:spcAft>
        <a:defRPr sz="2500" kern="12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MS PGothic" pitchFamily="34" charset="-128"/>
          <a:cs typeface="MS PGothic" charset="0"/>
        </a:defRPr>
      </a:lvl2pPr>
      <a:lvl3pPr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MS PGothic" pitchFamily="34" charset="-128"/>
          <a:cs typeface="MS PGothic" charset="0"/>
        </a:defRPr>
      </a:lvl3pPr>
      <a:lvl4pPr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MS PGothic" pitchFamily="34" charset="-128"/>
          <a:cs typeface="MS PGothic" charset="0"/>
        </a:defRPr>
      </a:lvl4pPr>
      <a:lvl5pPr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MS PGothic" pitchFamily="34" charset="-128"/>
          <a:cs typeface="MS PGothic" charset="0"/>
        </a:defRPr>
      </a:lvl5pPr>
      <a:lvl6pPr marL="457200"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ＭＳ Ｐゴシック" charset="0"/>
        </a:defRPr>
      </a:lvl6pPr>
      <a:lvl7pPr marL="914400"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ＭＳ Ｐゴシック" charset="0"/>
        </a:defRPr>
      </a:lvl7pPr>
      <a:lvl8pPr marL="1371600"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ＭＳ Ｐゴシック" charset="0"/>
        </a:defRPr>
      </a:lvl8pPr>
      <a:lvl9pPr marL="1828800"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ＭＳ Ｐゴシック" charset="0"/>
        </a:defRPr>
      </a:lvl9pPr>
    </p:titleStyle>
    <p:bodyStyle>
      <a:lvl1pPr marL="0" indent="0" algn="r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Arial" charset="0"/>
        <a:buNone/>
        <a:defRPr sz="900" kern="1200">
          <a:solidFill>
            <a:schemeClr val="tx1"/>
          </a:solidFill>
          <a:latin typeface="Egyptienne F LT Std"/>
          <a:ea typeface="MS PGothic" pitchFamily="34" charset="-128"/>
          <a:cs typeface="Egyptienne F LT Std"/>
        </a:defRPr>
      </a:lvl1pPr>
      <a:lvl2pPr marL="457200" indent="-228600" algn="l" rtl="0" eaLnBrk="1" fontAlgn="base" hangingPunct="1">
        <a:lnSpc>
          <a:spcPts val="2100"/>
        </a:lnSpc>
        <a:spcBef>
          <a:spcPct val="0"/>
        </a:spcBef>
        <a:spcAft>
          <a:spcPts val="120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685800" indent="-228600" algn="l" rtl="0" eaLnBrk="1" fontAlgn="base" hangingPunct="1">
        <a:lnSpc>
          <a:spcPts val="2100"/>
        </a:lnSpc>
        <a:spcBef>
          <a:spcPct val="0"/>
        </a:spcBef>
        <a:spcAft>
          <a:spcPts val="120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914400" indent="-228600" algn="l" rtl="0" eaLnBrk="1" fontAlgn="base" hangingPunct="1">
        <a:lnSpc>
          <a:spcPts val="2100"/>
        </a:lnSpc>
        <a:spcBef>
          <a:spcPct val="0"/>
        </a:spcBef>
        <a:spcAft>
          <a:spcPts val="120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1143000" indent="-228600" algn="l" rtl="0" eaLnBrk="1" fontAlgn="base" hangingPunct="1">
        <a:lnSpc>
          <a:spcPts val="2100"/>
        </a:lnSpc>
        <a:spcBef>
          <a:spcPct val="0"/>
        </a:spcBef>
        <a:spcAft>
          <a:spcPts val="1200"/>
        </a:spcAft>
        <a:buFont typeface="Cambria" charset="0"/>
        <a:buChar char="̶"/>
        <a:defRPr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1371600" indent="-228600" algn="l" defTabSz="914400" rtl="0" eaLnBrk="1" latinLnBrk="0" hangingPunct="1">
        <a:lnSpc>
          <a:spcPts val="21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lnSpc>
          <a:spcPts val="2100"/>
        </a:lnSpc>
        <a:spcBef>
          <a:spcPts val="0"/>
        </a:spcBef>
        <a:spcAft>
          <a:spcPts val="1200"/>
        </a:spcAft>
        <a:buFont typeface="Cambria" panose="02040503050406030204" pitchFamily="18" charset="0"/>
        <a:buChar char="̶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>
            <a:extLst>
              <a:ext uri="{FF2B5EF4-FFF2-40B4-BE49-F238E27FC236}">
                <a16:creationId xmlns:a16="http://schemas.microsoft.com/office/drawing/2014/main" id="{D659C888-BBAA-4C91-BD65-015E02D4D81E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11163" y="308372"/>
            <a:ext cx="6858000" cy="289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F54E76-05E4-4D09-9466-81D8D4419C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3" y="1200150"/>
            <a:ext cx="8229600" cy="21287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32677D-C2F7-4357-889E-0A4FC23A78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371600" y="4800600"/>
            <a:ext cx="1143000" cy="10358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675">
                <a:ea typeface="MS PGothic" pitchFamily="34" charset="-128"/>
              </a:defRPr>
            </a:lvl1pPr>
          </a:lstStyle>
          <a:p>
            <a:pPr>
              <a:defRPr/>
            </a:pPr>
            <a:fld id="{59D57CF2-3456-4CBF-A7D6-21F56D90883C}" type="datetime4">
              <a:rPr lang="en-US" altLang="en-US"/>
              <a:pPr>
                <a:defRPr/>
              </a:pPr>
              <a:t>April 10, 2019</a:t>
            </a:fld>
            <a:endParaRPr lang="en-US" alt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98CB0B-0EE8-4B5B-ACC8-1BED44E6F7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17838" y="4799410"/>
            <a:ext cx="5486400" cy="103584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675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Presentation Title Here   |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D8373B-B851-4D25-898E-FAADB62734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48650" y="4799119"/>
            <a:ext cx="457200" cy="10387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eaLnBrk="1" hangingPunct="1">
              <a:defRPr sz="675"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F5912FEF-A25B-49DB-B72C-143939C6F1BA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96360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4" r:id="rId9"/>
    <p:sldLayoutId id="2147484105" r:id="rId10"/>
    <p:sldLayoutId id="2147484106" r:id="rId11"/>
    <p:sldLayoutId id="2147484107" r:id="rId12"/>
    <p:sldLayoutId id="2147484108" r:id="rId13"/>
  </p:sldLayoutIdLst>
  <p:hf hdr="0" dt="0"/>
  <p:txStyles>
    <p:titleStyle>
      <a:lvl1pPr algn="l" rtl="0" eaLnBrk="0" fontAlgn="base" hangingPunct="0">
        <a:spcBef>
          <a:spcPct val="0"/>
        </a:spcBef>
        <a:spcAft>
          <a:spcPts val="1500"/>
        </a:spcAft>
        <a:defRPr sz="1875" kern="1200">
          <a:solidFill>
            <a:schemeClr val="tx1"/>
          </a:solidFill>
          <a:latin typeface="+mj-lt"/>
          <a:ea typeface="MS PGothic" panose="020B0600070205080204" pitchFamily="34" charset="-128"/>
          <a:cs typeface="MS PGothic" charset="0"/>
        </a:defRPr>
      </a:lvl1pPr>
      <a:lvl2pPr algn="l" rtl="0" eaLnBrk="0" fontAlgn="base" hangingPunct="0">
        <a:spcBef>
          <a:spcPct val="0"/>
        </a:spcBef>
        <a:spcAft>
          <a:spcPts val="1500"/>
        </a:spcAft>
        <a:defRPr sz="1875">
          <a:solidFill>
            <a:schemeClr val="tx1"/>
          </a:solidFill>
          <a:latin typeface="Arial Black" charset="0"/>
          <a:ea typeface="MS PGothic" panose="020B0600070205080204" pitchFamily="34" charset="-128"/>
          <a:cs typeface="MS PGothic" charset="0"/>
        </a:defRPr>
      </a:lvl2pPr>
      <a:lvl3pPr algn="l" rtl="0" eaLnBrk="0" fontAlgn="base" hangingPunct="0">
        <a:spcBef>
          <a:spcPct val="0"/>
        </a:spcBef>
        <a:spcAft>
          <a:spcPts val="1500"/>
        </a:spcAft>
        <a:defRPr sz="1875">
          <a:solidFill>
            <a:schemeClr val="tx1"/>
          </a:solidFill>
          <a:latin typeface="Arial Black" charset="0"/>
          <a:ea typeface="MS PGothic" panose="020B0600070205080204" pitchFamily="34" charset="-128"/>
          <a:cs typeface="MS PGothic" charset="0"/>
        </a:defRPr>
      </a:lvl3pPr>
      <a:lvl4pPr algn="l" rtl="0" eaLnBrk="0" fontAlgn="base" hangingPunct="0">
        <a:spcBef>
          <a:spcPct val="0"/>
        </a:spcBef>
        <a:spcAft>
          <a:spcPts val="1500"/>
        </a:spcAft>
        <a:defRPr sz="1875">
          <a:solidFill>
            <a:schemeClr val="tx1"/>
          </a:solidFill>
          <a:latin typeface="Arial Black" charset="0"/>
          <a:ea typeface="MS PGothic" panose="020B0600070205080204" pitchFamily="34" charset="-128"/>
          <a:cs typeface="MS PGothic" charset="0"/>
        </a:defRPr>
      </a:lvl4pPr>
      <a:lvl5pPr algn="l" rtl="0" eaLnBrk="0" fontAlgn="base" hangingPunct="0">
        <a:spcBef>
          <a:spcPct val="0"/>
        </a:spcBef>
        <a:spcAft>
          <a:spcPts val="1500"/>
        </a:spcAft>
        <a:defRPr sz="1875">
          <a:solidFill>
            <a:schemeClr val="tx1"/>
          </a:solidFill>
          <a:latin typeface="Arial Black" charset="0"/>
          <a:ea typeface="MS PGothic" panose="020B0600070205080204" pitchFamily="34" charset="-128"/>
          <a:cs typeface="MS PGothic" charset="0"/>
        </a:defRPr>
      </a:lvl5pPr>
      <a:lvl6pPr marL="342900" algn="l" rtl="0" fontAlgn="base">
        <a:spcBef>
          <a:spcPct val="0"/>
        </a:spcBef>
        <a:spcAft>
          <a:spcPts val="1500"/>
        </a:spcAft>
        <a:defRPr sz="1875">
          <a:solidFill>
            <a:schemeClr val="tx1"/>
          </a:solidFill>
          <a:latin typeface="Arial Black" charset="0"/>
          <a:ea typeface="ＭＳ Ｐゴシック" charset="0"/>
        </a:defRPr>
      </a:lvl6pPr>
      <a:lvl7pPr marL="685800" algn="l" rtl="0" fontAlgn="base">
        <a:spcBef>
          <a:spcPct val="0"/>
        </a:spcBef>
        <a:spcAft>
          <a:spcPts val="1500"/>
        </a:spcAft>
        <a:defRPr sz="1875">
          <a:solidFill>
            <a:schemeClr val="tx1"/>
          </a:solidFill>
          <a:latin typeface="Arial Black" charset="0"/>
          <a:ea typeface="ＭＳ Ｐゴシック" charset="0"/>
        </a:defRPr>
      </a:lvl7pPr>
      <a:lvl8pPr marL="1028700" algn="l" rtl="0" fontAlgn="base">
        <a:spcBef>
          <a:spcPct val="0"/>
        </a:spcBef>
        <a:spcAft>
          <a:spcPts val="1500"/>
        </a:spcAft>
        <a:defRPr sz="1875">
          <a:solidFill>
            <a:schemeClr val="tx1"/>
          </a:solidFill>
          <a:latin typeface="Arial Black" charset="0"/>
          <a:ea typeface="ＭＳ Ｐゴシック" charset="0"/>
        </a:defRPr>
      </a:lvl8pPr>
      <a:lvl9pPr marL="1371600" algn="l" rtl="0" fontAlgn="base">
        <a:spcBef>
          <a:spcPct val="0"/>
        </a:spcBef>
        <a:spcAft>
          <a:spcPts val="1500"/>
        </a:spcAft>
        <a:defRPr sz="1875">
          <a:solidFill>
            <a:schemeClr val="tx1"/>
          </a:solidFill>
          <a:latin typeface="Arial Black" charset="0"/>
          <a:ea typeface="ＭＳ Ｐゴシック" charset="0"/>
        </a:defRPr>
      </a:lvl9pPr>
    </p:titleStyle>
    <p:bodyStyle>
      <a:lvl1pPr marL="171450" indent="-171450" algn="l" rtl="0" eaLnBrk="0" fontAlgn="base" hangingPunct="0">
        <a:lnSpc>
          <a:spcPts val="1575"/>
        </a:lnSpc>
        <a:spcBef>
          <a:spcPct val="0"/>
        </a:spcBef>
        <a:spcAft>
          <a:spcPts val="90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1pPr>
      <a:lvl2pPr marL="342900" indent="-171450" algn="l" rtl="0" eaLnBrk="0" fontAlgn="base" hangingPunct="0">
        <a:lnSpc>
          <a:spcPts val="1575"/>
        </a:lnSpc>
        <a:spcBef>
          <a:spcPct val="0"/>
        </a:spcBef>
        <a:spcAft>
          <a:spcPts val="90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2pPr>
      <a:lvl3pPr marL="514350" indent="-171450" algn="l" rtl="0" eaLnBrk="0" fontAlgn="base" hangingPunct="0">
        <a:lnSpc>
          <a:spcPts val="1575"/>
        </a:lnSpc>
        <a:spcBef>
          <a:spcPct val="0"/>
        </a:spcBef>
        <a:spcAft>
          <a:spcPts val="90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3pPr>
      <a:lvl4pPr marL="685800" indent="-171450" algn="l" rtl="0" eaLnBrk="0" fontAlgn="base" hangingPunct="0">
        <a:lnSpc>
          <a:spcPts val="1575"/>
        </a:lnSpc>
        <a:spcBef>
          <a:spcPct val="0"/>
        </a:spcBef>
        <a:spcAft>
          <a:spcPts val="90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4pPr>
      <a:lvl5pPr marL="857250" indent="-171450" algn="l" rtl="0" eaLnBrk="0" fontAlgn="base" hangingPunct="0">
        <a:lnSpc>
          <a:spcPts val="1575"/>
        </a:lnSpc>
        <a:spcBef>
          <a:spcPct val="0"/>
        </a:spcBef>
        <a:spcAft>
          <a:spcPts val="900"/>
        </a:spcAft>
        <a:buFont typeface="Cambria" panose="02040503050406030204" pitchFamily="18" charset="0"/>
        <a:buChar char="̶"/>
        <a:defRPr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5pPr>
      <a:lvl6pPr marL="1028700" indent="-171450" algn="l" defTabSz="685800" rtl="0" eaLnBrk="1" latinLnBrk="0" hangingPunct="1">
        <a:lnSpc>
          <a:spcPts val="1575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defRPr sz="135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00150" indent="-171450" algn="l" defTabSz="685800" rtl="0" eaLnBrk="1" latinLnBrk="0" hangingPunct="1">
        <a:lnSpc>
          <a:spcPts val="1575"/>
        </a:lnSpc>
        <a:spcBef>
          <a:spcPts val="0"/>
        </a:spcBef>
        <a:spcAft>
          <a:spcPts val="900"/>
        </a:spcAft>
        <a:buFont typeface="Cambria" panose="02040503050406030204" pitchFamily="18" charset="0"/>
        <a:buChar char="̶"/>
        <a:defRPr sz="135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FD4548-AB82-4EDC-B98F-7AFE2102EA60}" type="datetimeFigureOut">
              <a:rPr lang="en-US" smtClean="0"/>
              <a:t>4/1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8BB4E2-50A8-4B72-B600-D50E6D8ADEE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72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3" r:id="rId1"/>
    <p:sldLayoutId id="2147483904" r:id="rId2"/>
    <p:sldLayoutId id="2147483905" r:id="rId3"/>
    <p:sldLayoutId id="2147483906" r:id="rId4"/>
    <p:sldLayoutId id="2147483907" r:id="rId5"/>
    <p:sldLayoutId id="2147483908" r:id="rId6"/>
    <p:sldLayoutId id="2147483909" r:id="rId7"/>
    <p:sldLayoutId id="2147483910" r:id="rId8"/>
    <p:sldLayoutId id="2147483911" r:id="rId9"/>
    <p:sldLayoutId id="2147483912" r:id="rId10"/>
    <p:sldLayoutId id="214748391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October 10, 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AD2D10-4C05-43CC-847B-26378B5EB83E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F04298E-204E-4701-A83B-3D155F8119A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4572000"/>
            <a:ext cx="1264844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165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900" r:id="rId12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8563015" y="4927728"/>
            <a:ext cx="228598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2"/>
                </a:solidFill>
                <a:latin typeface="HumstSlab712 BT Roman"/>
                <a:ea typeface="MS PGothic" charset="0"/>
                <a:cs typeface="HumstSlab712 BT Roman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9pPr>
          </a:lstStyle>
          <a:p>
            <a:pPr algn="r"/>
            <a:fld id="{210D6F30-3479-EB47-B616-273BCC2A68D5}" type="slidenum">
              <a:rPr lang="en-US" sz="900" smtClean="0">
                <a:latin typeface="Cambria" panose="02040503050406030204" pitchFamily="18" charset="0"/>
              </a:rPr>
              <a:pPr algn="r"/>
              <a:t>‹#›</a:t>
            </a:fld>
            <a:endParaRPr lang="en-US" sz="900" dirty="0">
              <a:latin typeface="Cambria" panose="02040503050406030204" pitchFamily="18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7932420" y="269240"/>
            <a:ext cx="914400" cy="231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199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917" r:id="rId2"/>
    <p:sldLayoutId id="2147483918" r:id="rId3"/>
    <p:sldLayoutId id="2147483919" r:id="rId4"/>
    <p:sldLayoutId id="2147483920" r:id="rId5"/>
    <p:sldLayoutId id="2147483921" r:id="rId6"/>
    <p:sldLayoutId id="2147483922" r:id="rId7"/>
    <p:sldLayoutId id="2147483923" r:id="rId8"/>
    <p:sldLayoutId id="2147483924" r:id="rId9"/>
    <p:sldLayoutId id="2147483925" r:id="rId10"/>
    <p:sldLayoutId id="2147483926" r:id="rId11"/>
    <p:sldLayoutId id="2147483927" r:id="rId12"/>
    <p:sldLayoutId id="2147483928" r:id="rId13"/>
    <p:sldLayoutId id="2147483929" r:id="rId14"/>
    <p:sldLayoutId id="2147483930" r:id="rId15"/>
    <p:sldLayoutId id="2147483931" r:id="rId16"/>
    <p:sldLayoutId id="2147483932" r:id="rId17"/>
    <p:sldLayoutId id="2147483933" r:id="rId18"/>
    <p:sldLayoutId id="2147483934" r:id="rId19"/>
    <p:sldLayoutId id="2147483935" r:id="rId20"/>
    <p:sldLayoutId id="2147483936" r:id="rId21"/>
    <p:sldLayoutId id="2147483938" r:id="rId22"/>
  </p:sldLayoutIdLst>
  <p:hf hdr="0" ftr="0"/>
  <p:txStyles>
    <p:titleStyle>
      <a:lvl1pPr algn="l" rtl="0" eaLnBrk="1" fontAlgn="base" hangingPunct="1">
        <a:spcBef>
          <a:spcPct val="0"/>
        </a:spcBef>
        <a:spcAft>
          <a:spcPts val="2000"/>
        </a:spcAft>
        <a:defRPr sz="2500" kern="12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MS PGothic" pitchFamily="34" charset="-128"/>
          <a:cs typeface="MS PGothic" charset="0"/>
        </a:defRPr>
      </a:lvl2pPr>
      <a:lvl3pPr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MS PGothic" pitchFamily="34" charset="-128"/>
          <a:cs typeface="MS PGothic" charset="0"/>
        </a:defRPr>
      </a:lvl3pPr>
      <a:lvl4pPr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MS PGothic" pitchFamily="34" charset="-128"/>
          <a:cs typeface="MS PGothic" charset="0"/>
        </a:defRPr>
      </a:lvl4pPr>
      <a:lvl5pPr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MS PGothic" pitchFamily="34" charset="-128"/>
          <a:cs typeface="MS PGothic" charset="0"/>
        </a:defRPr>
      </a:lvl5pPr>
      <a:lvl6pPr marL="457200"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ＭＳ Ｐゴシック" charset="0"/>
        </a:defRPr>
      </a:lvl6pPr>
      <a:lvl7pPr marL="914400"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ＭＳ Ｐゴシック" charset="0"/>
        </a:defRPr>
      </a:lvl7pPr>
      <a:lvl8pPr marL="1371600"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ＭＳ Ｐゴシック" charset="0"/>
        </a:defRPr>
      </a:lvl8pPr>
      <a:lvl9pPr marL="1828800"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ＭＳ Ｐゴシック" charset="0"/>
        </a:defRPr>
      </a:lvl9pPr>
    </p:titleStyle>
    <p:bodyStyle>
      <a:lvl1pPr marL="0" indent="0" algn="r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Arial" charset="0"/>
        <a:buNone/>
        <a:defRPr sz="900" kern="1200">
          <a:solidFill>
            <a:schemeClr val="tx1"/>
          </a:solidFill>
          <a:latin typeface="Egyptienne F LT Std"/>
          <a:ea typeface="MS PGothic" pitchFamily="34" charset="-128"/>
          <a:cs typeface="Egyptienne F LT Std"/>
        </a:defRPr>
      </a:lvl1pPr>
      <a:lvl2pPr marL="457200" indent="-228600" algn="l" rtl="0" eaLnBrk="1" fontAlgn="base" hangingPunct="1">
        <a:lnSpc>
          <a:spcPts val="2100"/>
        </a:lnSpc>
        <a:spcBef>
          <a:spcPct val="0"/>
        </a:spcBef>
        <a:spcAft>
          <a:spcPts val="120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685800" indent="-228600" algn="l" rtl="0" eaLnBrk="1" fontAlgn="base" hangingPunct="1">
        <a:lnSpc>
          <a:spcPts val="2100"/>
        </a:lnSpc>
        <a:spcBef>
          <a:spcPct val="0"/>
        </a:spcBef>
        <a:spcAft>
          <a:spcPts val="120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914400" indent="-228600" algn="l" rtl="0" eaLnBrk="1" fontAlgn="base" hangingPunct="1">
        <a:lnSpc>
          <a:spcPts val="2100"/>
        </a:lnSpc>
        <a:spcBef>
          <a:spcPct val="0"/>
        </a:spcBef>
        <a:spcAft>
          <a:spcPts val="120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1143000" indent="-228600" algn="l" rtl="0" eaLnBrk="1" fontAlgn="base" hangingPunct="1">
        <a:lnSpc>
          <a:spcPts val="2100"/>
        </a:lnSpc>
        <a:spcBef>
          <a:spcPct val="0"/>
        </a:spcBef>
        <a:spcAft>
          <a:spcPts val="1200"/>
        </a:spcAft>
        <a:buFont typeface="Cambria" charset="0"/>
        <a:buChar char="̶"/>
        <a:defRPr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1371600" indent="-228600" algn="l" defTabSz="914400" rtl="0" eaLnBrk="1" latinLnBrk="0" hangingPunct="1">
        <a:lnSpc>
          <a:spcPts val="21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lnSpc>
          <a:spcPts val="2100"/>
        </a:lnSpc>
        <a:spcBef>
          <a:spcPts val="0"/>
        </a:spcBef>
        <a:spcAft>
          <a:spcPts val="1200"/>
        </a:spcAft>
        <a:buFont typeface="Cambria" panose="02040503050406030204" pitchFamily="18" charset="0"/>
        <a:buChar char="̶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May 30, 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AD2D10-4C05-43CC-847B-26378B5EB83E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7702EA1-DA40-42E3-9489-B40032D63656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0" y="4572000"/>
            <a:ext cx="1264844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8336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  <p:sldLayoutId id="2147483948" r:id="rId9"/>
    <p:sldLayoutId id="2147483949" r:id="rId10"/>
    <p:sldLayoutId id="2147483950" r:id="rId11"/>
    <p:sldLayoutId id="2147483951" r:id="rId12"/>
    <p:sldLayoutId id="2147483953" r:id="rId13"/>
    <p:sldLayoutId id="2147483954" r:id="rId14"/>
    <p:sldLayoutId id="2147483956" r:id="rId15"/>
    <p:sldLayoutId id="2147483957" r:id="rId16"/>
    <p:sldLayoutId id="2147483958" r:id="rId1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8563015" y="4927728"/>
            <a:ext cx="228598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2"/>
                </a:solidFill>
                <a:latin typeface="HumstSlab712 BT Roman"/>
                <a:ea typeface="MS PGothic" charset="0"/>
                <a:cs typeface="HumstSlab712 BT Roman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9pPr>
          </a:lstStyle>
          <a:p>
            <a:pPr algn="r"/>
            <a:fld id="{210D6F30-3479-EB47-B616-273BCC2A68D5}" type="slidenum">
              <a:rPr lang="en-US" sz="900" smtClean="0">
                <a:latin typeface="Cambria" panose="02040503050406030204" pitchFamily="18" charset="0"/>
              </a:rPr>
              <a:pPr algn="r"/>
              <a:t>‹#›</a:t>
            </a:fld>
            <a:endParaRPr lang="en-US" sz="900" dirty="0">
              <a:latin typeface="Cambria" panose="02040503050406030204" pitchFamily="18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fld id="{99D54606-F47F-0B48-90C4-8DCB8C99B120}" type="datetime4">
              <a:rPr lang="en-US" smtClean="0"/>
              <a:t>April 10, 2019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7932420" y="269240"/>
            <a:ext cx="914400" cy="231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774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  <p:sldLayoutId id="2147483970" r:id="rId11"/>
    <p:sldLayoutId id="2147483971" r:id="rId12"/>
    <p:sldLayoutId id="2147483972" r:id="rId13"/>
    <p:sldLayoutId id="2147483973" r:id="rId14"/>
    <p:sldLayoutId id="2147483974" r:id="rId15"/>
    <p:sldLayoutId id="2147483975" r:id="rId16"/>
    <p:sldLayoutId id="2147483976" r:id="rId17"/>
    <p:sldLayoutId id="2147483977" r:id="rId18"/>
    <p:sldLayoutId id="2147483978" r:id="rId19"/>
    <p:sldLayoutId id="2147483979" r:id="rId20"/>
    <p:sldLayoutId id="2147483980" r:id="rId21"/>
    <p:sldLayoutId id="2147483981" r:id="rId22"/>
    <p:sldLayoutId id="2147483982" r:id="rId23"/>
    <p:sldLayoutId id="2147483983" r:id="rId24"/>
    <p:sldLayoutId id="2147483984" r:id="rId25"/>
    <p:sldLayoutId id="2147483986" r:id="rId26"/>
    <p:sldLayoutId id="2147483987" r:id="rId27"/>
    <p:sldLayoutId id="2147483988" r:id="rId28"/>
  </p:sldLayoutIdLst>
  <p:hf hdr="0" ftr="0"/>
  <p:txStyles>
    <p:titleStyle>
      <a:lvl1pPr algn="l" rtl="0" eaLnBrk="1" fontAlgn="base" hangingPunct="1">
        <a:spcBef>
          <a:spcPct val="0"/>
        </a:spcBef>
        <a:spcAft>
          <a:spcPts val="2000"/>
        </a:spcAft>
        <a:defRPr sz="2500" kern="12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MS PGothic" pitchFamily="34" charset="-128"/>
          <a:cs typeface="MS PGothic" charset="0"/>
        </a:defRPr>
      </a:lvl2pPr>
      <a:lvl3pPr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MS PGothic" pitchFamily="34" charset="-128"/>
          <a:cs typeface="MS PGothic" charset="0"/>
        </a:defRPr>
      </a:lvl3pPr>
      <a:lvl4pPr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MS PGothic" pitchFamily="34" charset="-128"/>
          <a:cs typeface="MS PGothic" charset="0"/>
        </a:defRPr>
      </a:lvl4pPr>
      <a:lvl5pPr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MS PGothic" pitchFamily="34" charset="-128"/>
          <a:cs typeface="MS PGothic" charset="0"/>
        </a:defRPr>
      </a:lvl5pPr>
      <a:lvl6pPr marL="457200"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ＭＳ Ｐゴシック" charset="0"/>
        </a:defRPr>
      </a:lvl6pPr>
      <a:lvl7pPr marL="914400"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ＭＳ Ｐゴシック" charset="0"/>
        </a:defRPr>
      </a:lvl7pPr>
      <a:lvl8pPr marL="1371600"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ＭＳ Ｐゴシック" charset="0"/>
        </a:defRPr>
      </a:lvl8pPr>
      <a:lvl9pPr marL="1828800"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ＭＳ Ｐゴシック" charset="0"/>
        </a:defRPr>
      </a:lvl9pPr>
    </p:titleStyle>
    <p:bodyStyle>
      <a:lvl1pPr marL="0" indent="0" algn="r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Arial" charset="0"/>
        <a:buNone/>
        <a:defRPr sz="900" kern="1200">
          <a:solidFill>
            <a:schemeClr val="tx1"/>
          </a:solidFill>
          <a:latin typeface="Egyptienne F LT Std"/>
          <a:ea typeface="MS PGothic" pitchFamily="34" charset="-128"/>
          <a:cs typeface="Egyptienne F LT Std"/>
        </a:defRPr>
      </a:lvl1pPr>
      <a:lvl2pPr marL="457200" indent="-228600" algn="l" rtl="0" eaLnBrk="1" fontAlgn="base" hangingPunct="1">
        <a:lnSpc>
          <a:spcPts val="2100"/>
        </a:lnSpc>
        <a:spcBef>
          <a:spcPct val="0"/>
        </a:spcBef>
        <a:spcAft>
          <a:spcPts val="120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685800" indent="-228600" algn="l" rtl="0" eaLnBrk="1" fontAlgn="base" hangingPunct="1">
        <a:lnSpc>
          <a:spcPts val="2100"/>
        </a:lnSpc>
        <a:spcBef>
          <a:spcPct val="0"/>
        </a:spcBef>
        <a:spcAft>
          <a:spcPts val="120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914400" indent="-228600" algn="l" rtl="0" eaLnBrk="1" fontAlgn="base" hangingPunct="1">
        <a:lnSpc>
          <a:spcPts val="2100"/>
        </a:lnSpc>
        <a:spcBef>
          <a:spcPct val="0"/>
        </a:spcBef>
        <a:spcAft>
          <a:spcPts val="120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1143000" indent="-228600" algn="l" rtl="0" eaLnBrk="1" fontAlgn="base" hangingPunct="1">
        <a:lnSpc>
          <a:spcPts val="2100"/>
        </a:lnSpc>
        <a:spcBef>
          <a:spcPct val="0"/>
        </a:spcBef>
        <a:spcAft>
          <a:spcPts val="1200"/>
        </a:spcAft>
        <a:buFont typeface="Cambria" charset="0"/>
        <a:buChar char="̶"/>
        <a:defRPr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1371600" indent="-228600" algn="l" defTabSz="914400" rtl="0" eaLnBrk="1" latinLnBrk="0" hangingPunct="1">
        <a:lnSpc>
          <a:spcPts val="21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lnSpc>
          <a:spcPts val="2100"/>
        </a:lnSpc>
        <a:spcBef>
          <a:spcPts val="0"/>
        </a:spcBef>
        <a:spcAft>
          <a:spcPts val="1200"/>
        </a:spcAft>
        <a:buFont typeface="Cambria" panose="02040503050406030204" pitchFamily="18" charset="0"/>
        <a:buChar char="̶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0"/>
          <p:cNvSpPr txBox="1">
            <a:spLocks/>
          </p:cNvSpPr>
          <p:nvPr/>
        </p:nvSpPr>
        <p:spPr>
          <a:xfrm>
            <a:off x="4225925" y="4938304"/>
            <a:ext cx="4419600" cy="109728"/>
          </a:xfrm>
          <a:prstGeom prst="rect">
            <a:avLst/>
          </a:prstGeom>
        </p:spPr>
        <p:txBody>
          <a:bodyPr vert="horz" anchor="ctr"/>
          <a:lstStyle>
            <a:lvl1pPr marL="0" indent="0" algn="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Arial" charset="0"/>
              <a:buNone/>
              <a:defRPr sz="900" kern="1200">
                <a:solidFill>
                  <a:schemeClr val="tx1"/>
                </a:solidFill>
                <a:latin typeface="Egyptienne F LT Std"/>
                <a:ea typeface="MS PGothic" pitchFamily="34" charset="-128"/>
                <a:cs typeface="Egyptienne F LT Std"/>
              </a:defRPr>
            </a:lvl1pPr>
            <a:lvl2pPr marL="457200" indent="-228600" algn="l" rtl="0" eaLnBrk="0" fontAlgn="base" hangingPunct="0">
              <a:lnSpc>
                <a:spcPts val="2100"/>
              </a:lnSpc>
              <a:spcBef>
                <a:spcPct val="0"/>
              </a:spcBef>
              <a:spcAft>
                <a:spcPts val="120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685800" indent="-228600" algn="l" rtl="0" eaLnBrk="0" fontAlgn="base" hangingPunct="0">
              <a:lnSpc>
                <a:spcPts val="2100"/>
              </a:lnSpc>
              <a:spcBef>
                <a:spcPct val="0"/>
              </a:spcBef>
              <a:spcAft>
                <a:spcPts val="120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914400" indent="-228600" algn="l" rtl="0" eaLnBrk="0" fontAlgn="base" hangingPunct="0">
              <a:lnSpc>
                <a:spcPts val="2100"/>
              </a:lnSpc>
              <a:spcBef>
                <a:spcPct val="0"/>
              </a:spcBef>
              <a:spcAft>
                <a:spcPts val="120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1143000" indent="-228600" algn="l" rtl="0" eaLnBrk="0" fontAlgn="base" hangingPunct="0">
              <a:lnSpc>
                <a:spcPts val="2100"/>
              </a:lnSpc>
              <a:spcBef>
                <a:spcPct val="0"/>
              </a:spcBef>
              <a:spcAft>
                <a:spcPts val="1200"/>
              </a:spcAft>
              <a:buFont typeface="Cambria" charset="0"/>
              <a:buChar char="̶"/>
              <a:defRPr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1371600" indent="-228600" algn="l" defTabSz="914400" rtl="0" eaLnBrk="1" latinLnBrk="0" hangingPunct="1">
              <a:lnSpc>
                <a:spcPts val="21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914400" rtl="0" eaLnBrk="1" latinLnBrk="0" hangingPunct="1">
              <a:lnSpc>
                <a:spcPts val="2100"/>
              </a:lnSpc>
              <a:spcBef>
                <a:spcPts val="0"/>
              </a:spcBef>
              <a:spcAft>
                <a:spcPts val="1200"/>
              </a:spcAft>
              <a:buFont typeface="Cambria" panose="02040503050406030204" pitchFamily="18" charset="0"/>
              <a:buChar char="̶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latin typeface="Cambria" panose="02040503050406030204" pitchFamily="18" charset="0"/>
                <a:cs typeface="HumstSlab712 BT Roman"/>
              </a:rPr>
              <a:t>IS GQO GIO Functional Review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8563015" y="4927728"/>
            <a:ext cx="228598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2"/>
                </a:solidFill>
                <a:latin typeface="HumstSlab712 BT Roman"/>
                <a:ea typeface="MS PGothic" charset="0"/>
                <a:cs typeface="HumstSlab712 BT Roman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9pPr>
          </a:lstStyle>
          <a:p>
            <a:pPr algn="r"/>
            <a:fld id="{210D6F30-3479-EB47-B616-273BCC2A68D5}" type="slidenum">
              <a:rPr lang="en-US" sz="900" smtClean="0">
                <a:latin typeface="Cambria" panose="02040503050406030204" pitchFamily="18" charset="0"/>
              </a:rPr>
              <a:pPr algn="r"/>
              <a:t>‹#›</a:t>
            </a:fld>
            <a:endParaRPr lang="en-US" sz="900" dirty="0">
              <a:latin typeface="Cambria" panose="02040503050406030204" pitchFamily="18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4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4"/>
          <a:stretch>
            <a:fillRect/>
          </a:stretch>
        </p:blipFill>
        <p:spPr>
          <a:xfrm>
            <a:off x="7932420" y="269240"/>
            <a:ext cx="914400" cy="231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21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0" r:id="rId1"/>
    <p:sldLayoutId id="2147483991" r:id="rId2"/>
    <p:sldLayoutId id="2147483992" r:id="rId3"/>
    <p:sldLayoutId id="2147483993" r:id="rId4"/>
    <p:sldLayoutId id="2147483994" r:id="rId5"/>
    <p:sldLayoutId id="2147483995" r:id="rId6"/>
    <p:sldLayoutId id="2147483996" r:id="rId7"/>
    <p:sldLayoutId id="2147483997" r:id="rId8"/>
    <p:sldLayoutId id="2147483998" r:id="rId9"/>
    <p:sldLayoutId id="2147483999" r:id="rId10"/>
    <p:sldLayoutId id="2147484000" r:id="rId11"/>
    <p:sldLayoutId id="2147484001" r:id="rId12"/>
    <p:sldLayoutId id="2147484002" r:id="rId13"/>
    <p:sldLayoutId id="2147484003" r:id="rId14"/>
    <p:sldLayoutId id="2147484004" r:id="rId15"/>
    <p:sldLayoutId id="2147484005" r:id="rId16"/>
    <p:sldLayoutId id="2147484006" r:id="rId17"/>
    <p:sldLayoutId id="2147484007" r:id="rId18"/>
    <p:sldLayoutId id="2147484008" r:id="rId19"/>
    <p:sldLayoutId id="2147484009" r:id="rId20"/>
    <p:sldLayoutId id="2147484010" r:id="rId21"/>
    <p:sldLayoutId id="2147484011" r:id="rId22"/>
    <p:sldLayoutId id="2147484014" r:id="rId23"/>
    <p:sldLayoutId id="2147484015" r:id="rId24"/>
    <p:sldLayoutId id="2147484016" r:id="rId25"/>
    <p:sldLayoutId id="2147484017" r:id="rId26"/>
    <p:sldLayoutId id="2147484018" r:id="rId27"/>
    <p:sldLayoutId id="2147484019" r:id="rId28"/>
    <p:sldLayoutId id="2147484020" r:id="rId29"/>
    <p:sldLayoutId id="2147484021" r:id="rId30"/>
    <p:sldLayoutId id="2147484022" r:id="rId31"/>
    <p:sldLayoutId id="2147484023" r:id="rId32"/>
    <p:sldLayoutId id="2147484024" r:id="rId33"/>
    <p:sldLayoutId id="2147484025" r:id="rId34"/>
    <p:sldLayoutId id="2147484026" r:id="rId35"/>
    <p:sldLayoutId id="2147484027" r:id="rId36"/>
    <p:sldLayoutId id="2147484028" r:id="rId37"/>
    <p:sldLayoutId id="2147484029" r:id="rId38"/>
    <p:sldLayoutId id="2147484030" r:id="rId39"/>
    <p:sldLayoutId id="2147484031" r:id="rId40"/>
    <p:sldLayoutId id="2147484032" r:id="rId41"/>
    <p:sldLayoutId id="2147484033" r:id="rId42"/>
  </p:sldLayoutIdLst>
  <p:hf sldNum="0" hdr="0" ftr="0"/>
  <p:txStyles>
    <p:titleStyle>
      <a:lvl1pPr algn="l" rtl="0" eaLnBrk="1" fontAlgn="base" hangingPunct="1">
        <a:spcBef>
          <a:spcPct val="0"/>
        </a:spcBef>
        <a:spcAft>
          <a:spcPts val="2000"/>
        </a:spcAft>
        <a:defRPr sz="2500" kern="12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MS PGothic" pitchFamily="34" charset="-128"/>
          <a:cs typeface="MS PGothic" charset="0"/>
        </a:defRPr>
      </a:lvl2pPr>
      <a:lvl3pPr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MS PGothic" pitchFamily="34" charset="-128"/>
          <a:cs typeface="MS PGothic" charset="0"/>
        </a:defRPr>
      </a:lvl3pPr>
      <a:lvl4pPr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MS PGothic" pitchFamily="34" charset="-128"/>
          <a:cs typeface="MS PGothic" charset="0"/>
        </a:defRPr>
      </a:lvl4pPr>
      <a:lvl5pPr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MS PGothic" pitchFamily="34" charset="-128"/>
          <a:cs typeface="MS PGothic" charset="0"/>
        </a:defRPr>
      </a:lvl5pPr>
      <a:lvl6pPr marL="457200"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ＭＳ Ｐゴシック" charset="0"/>
        </a:defRPr>
      </a:lvl6pPr>
      <a:lvl7pPr marL="914400"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ＭＳ Ｐゴシック" charset="0"/>
        </a:defRPr>
      </a:lvl7pPr>
      <a:lvl8pPr marL="1371600"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ＭＳ Ｐゴシック" charset="0"/>
        </a:defRPr>
      </a:lvl8pPr>
      <a:lvl9pPr marL="1828800"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ＭＳ Ｐゴシック" charset="0"/>
        </a:defRPr>
      </a:lvl9pPr>
    </p:titleStyle>
    <p:bodyStyle>
      <a:lvl1pPr marL="0" indent="0" algn="r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Arial" charset="0"/>
        <a:buNone/>
        <a:defRPr sz="900" kern="1200">
          <a:solidFill>
            <a:schemeClr val="tx1"/>
          </a:solidFill>
          <a:latin typeface="Egyptienne F LT Std"/>
          <a:ea typeface="MS PGothic" pitchFamily="34" charset="-128"/>
          <a:cs typeface="Egyptienne F LT Std"/>
        </a:defRPr>
      </a:lvl1pPr>
      <a:lvl2pPr marL="457200" indent="-228600" algn="l" rtl="0" eaLnBrk="1" fontAlgn="base" hangingPunct="1">
        <a:lnSpc>
          <a:spcPts val="2100"/>
        </a:lnSpc>
        <a:spcBef>
          <a:spcPct val="0"/>
        </a:spcBef>
        <a:spcAft>
          <a:spcPts val="120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685800" indent="-228600" algn="l" rtl="0" eaLnBrk="1" fontAlgn="base" hangingPunct="1">
        <a:lnSpc>
          <a:spcPts val="2100"/>
        </a:lnSpc>
        <a:spcBef>
          <a:spcPct val="0"/>
        </a:spcBef>
        <a:spcAft>
          <a:spcPts val="120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914400" indent="-228600" algn="l" rtl="0" eaLnBrk="1" fontAlgn="base" hangingPunct="1">
        <a:lnSpc>
          <a:spcPts val="2100"/>
        </a:lnSpc>
        <a:spcBef>
          <a:spcPct val="0"/>
        </a:spcBef>
        <a:spcAft>
          <a:spcPts val="120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1143000" indent="-228600" algn="l" rtl="0" eaLnBrk="1" fontAlgn="base" hangingPunct="1">
        <a:lnSpc>
          <a:spcPts val="2100"/>
        </a:lnSpc>
        <a:spcBef>
          <a:spcPct val="0"/>
        </a:spcBef>
        <a:spcAft>
          <a:spcPts val="1200"/>
        </a:spcAft>
        <a:buFont typeface="Cambria" charset="0"/>
        <a:buChar char="̶"/>
        <a:defRPr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1371600" indent="-228600" algn="l" defTabSz="914400" rtl="0" eaLnBrk="1" latinLnBrk="0" hangingPunct="1">
        <a:lnSpc>
          <a:spcPts val="21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lnSpc>
          <a:spcPts val="2100"/>
        </a:lnSpc>
        <a:spcBef>
          <a:spcPts val="0"/>
        </a:spcBef>
        <a:spcAft>
          <a:spcPts val="1200"/>
        </a:spcAft>
        <a:buFont typeface="Cambria" panose="02040503050406030204" pitchFamily="18" charset="0"/>
        <a:buChar char="̶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DCCC04-1F49-4678-84B6-17E2263990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11163" y="4783138"/>
            <a:ext cx="1143000" cy="138112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900">
                <a:latin typeface="Cambria"/>
                <a:ea typeface="MS PGothic" charset="0"/>
                <a:cs typeface="Cambria"/>
              </a:defRPr>
            </a:lvl1pPr>
          </a:lstStyle>
          <a:p>
            <a:pPr>
              <a:defRPr/>
            </a:pPr>
            <a:fld id="{042BC445-81AE-41F2-80F2-4A6892882F09}" type="datetime4">
              <a:rPr lang="en-US"/>
              <a:pPr>
                <a:defRPr/>
              </a:pPr>
              <a:t>April 10, 2019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0324D9-E69D-4AD8-B562-253903E996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1388" y="4783138"/>
            <a:ext cx="228600" cy="138112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9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11FF7DE3-AB16-4BE3-A118-60EE40B7F8CD}" type="slidenum">
              <a:rPr lang="en-US" altLang="de-DE"/>
              <a:pPr>
                <a:defRPr/>
              </a:pPr>
              <a:t>‹#›</a:t>
            </a:fld>
            <a:endParaRPr lang="en-US" altLang="de-DE" dirty="0"/>
          </a:p>
        </p:txBody>
      </p:sp>
      <p:pic>
        <p:nvPicPr>
          <p:cNvPr id="1028" name="Picture 11">
            <a:extLst>
              <a:ext uri="{FF2B5EF4-FFF2-40B4-BE49-F238E27FC236}">
                <a16:creationId xmlns:a16="http://schemas.microsoft.com/office/drawing/2014/main" id="{7A144952-D490-4706-93FA-289B0E1E0A4F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8438" y="320675"/>
            <a:ext cx="9144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4527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5" r:id="rId1"/>
    <p:sldLayoutId id="2147484036" r:id="rId2"/>
    <p:sldLayoutId id="2147484037" r:id="rId3"/>
    <p:sldLayoutId id="2147484038" r:id="rId4"/>
    <p:sldLayoutId id="2147484039" r:id="rId5"/>
    <p:sldLayoutId id="2147484040" r:id="rId6"/>
    <p:sldLayoutId id="2147484041" r:id="rId7"/>
    <p:sldLayoutId id="2147484042" r:id="rId8"/>
    <p:sldLayoutId id="2147484043" r:id="rId9"/>
    <p:sldLayoutId id="2147484044" r:id="rId10"/>
    <p:sldLayoutId id="2147484045" r:id="rId11"/>
    <p:sldLayoutId id="2147484046" r:id="rId12"/>
    <p:sldLayoutId id="2147484047" r:id="rId13"/>
    <p:sldLayoutId id="2147484048" r:id="rId14"/>
    <p:sldLayoutId id="2147484049" r:id="rId15"/>
    <p:sldLayoutId id="2147484050" r:id="rId16"/>
    <p:sldLayoutId id="2147484051" r:id="rId17"/>
    <p:sldLayoutId id="2147484052" r:id="rId18"/>
  </p:sldLayoutIdLst>
  <p:hf hdr="0"/>
  <p:txStyles>
    <p:titleStyle>
      <a:lvl1pPr algn="l" rtl="0" eaLnBrk="0" fontAlgn="base" hangingPunct="0">
        <a:spcBef>
          <a:spcPct val="0"/>
        </a:spcBef>
        <a:spcAft>
          <a:spcPts val="2000"/>
        </a:spcAft>
        <a:defRPr sz="2500" kern="12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l" rtl="0" eaLnBrk="0" fontAlgn="base" hangingPunct="0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MS PGothic" pitchFamily="34" charset="-128"/>
          <a:cs typeface="MS PGothic" charset="0"/>
        </a:defRPr>
      </a:lvl2pPr>
      <a:lvl3pPr algn="l" rtl="0" eaLnBrk="0" fontAlgn="base" hangingPunct="0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MS PGothic" pitchFamily="34" charset="-128"/>
          <a:cs typeface="MS PGothic" charset="0"/>
        </a:defRPr>
      </a:lvl3pPr>
      <a:lvl4pPr algn="l" rtl="0" eaLnBrk="0" fontAlgn="base" hangingPunct="0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MS PGothic" pitchFamily="34" charset="-128"/>
          <a:cs typeface="MS PGothic" charset="0"/>
        </a:defRPr>
      </a:lvl4pPr>
      <a:lvl5pPr algn="l" rtl="0" eaLnBrk="0" fontAlgn="base" hangingPunct="0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MS PGothic" pitchFamily="34" charset="-128"/>
          <a:cs typeface="MS PGothic" charset="0"/>
        </a:defRPr>
      </a:lvl5pPr>
      <a:lvl6pPr marL="457200"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ＭＳ Ｐゴシック" charset="0"/>
        </a:defRPr>
      </a:lvl6pPr>
      <a:lvl7pPr marL="914400"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ＭＳ Ｐゴシック" charset="0"/>
        </a:defRPr>
      </a:lvl7pPr>
      <a:lvl8pPr marL="1371600"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ＭＳ Ｐゴシック" charset="0"/>
        </a:defRPr>
      </a:lvl8pPr>
      <a:lvl9pPr marL="1828800"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ＭＳ Ｐゴシック" charset="0"/>
        </a:defRPr>
      </a:lvl9pPr>
    </p:titleStyle>
    <p:bodyStyle>
      <a:lvl1pPr marL="342900" indent="-342900" algn="r" rtl="0" eaLnBrk="0" fontAlgn="base" hangingPunct="0">
        <a:spcBef>
          <a:spcPct val="0"/>
        </a:spcBef>
        <a:spcAft>
          <a:spcPts val="1200"/>
        </a:spcAft>
        <a:buFont typeface="Arial" panose="020B0604020202020204" pitchFamily="34" charset="0"/>
        <a:defRPr sz="900" kern="1200">
          <a:solidFill>
            <a:schemeClr val="tx1"/>
          </a:solidFill>
          <a:latin typeface="Egyptienne F LT Std"/>
          <a:ea typeface="MS PGothic" pitchFamily="34" charset="-128"/>
          <a:cs typeface="Egyptienne F LT Std"/>
        </a:defRPr>
      </a:lvl1pPr>
      <a:lvl2pPr marL="457200" indent="-228600" algn="l" rtl="0" eaLnBrk="0" fontAlgn="base" hangingPunct="0">
        <a:lnSpc>
          <a:spcPts val="2100"/>
        </a:lnSpc>
        <a:spcBef>
          <a:spcPct val="0"/>
        </a:spcBef>
        <a:spcAft>
          <a:spcPts val="120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685800" indent="-228600" algn="l" rtl="0" eaLnBrk="0" fontAlgn="base" hangingPunct="0">
        <a:lnSpc>
          <a:spcPts val="2100"/>
        </a:lnSpc>
        <a:spcBef>
          <a:spcPct val="0"/>
        </a:spcBef>
        <a:spcAft>
          <a:spcPts val="120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914400" indent="-228600" algn="l" rtl="0" eaLnBrk="0" fontAlgn="base" hangingPunct="0">
        <a:lnSpc>
          <a:spcPts val="2100"/>
        </a:lnSpc>
        <a:spcBef>
          <a:spcPct val="0"/>
        </a:spcBef>
        <a:spcAft>
          <a:spcPts val="120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1143000" indent="-228600" algn="l" rtl="0" eaLnBrk="0" fontAlgn="base" hangingPunct="0">
        <a:lnSpc>
          <a:spcPts val="2100"/>
        </a:lnSpc>
        <a:spcBef>
          <a:spcPct val="0"/>
        </a:spcBef>
        <a:spcAft>
          <a:spcPts val="1200"/>
        </a:spcAft>
        <a:buFont typeface="Cambria" panose="02040503050406030204" pitchFamily="18" charset="0"/>
        <a:buChar char="̶"/>
        <a:defRPr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1371600" indent="-228600" algn="l" defTabSz="914400" rtl="0" eaLnBrk="1" latinLnBrk="0" hangingPunct="1">
        <a:lnSpc>
          <a:spcPts val="21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lnSpc>
          <a:spcPts val="2100"/>
        </a:lnSpc>
        <a:spcBef>
          <a:spcPts val="0"/>
        </a:spcBef>
        <a:spcAft>
          <a:spcPts val="1200"/>
        </a:spcAft>
        <a:buFont typeface="Cambria" panose="02040503050406030204" pitchFamily="18" charset="0"/>
        <a:buChar char="̶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0"/>
          <p:cNvSpPr txBox="1">
            <a:spLocks/>
          </p:cNvSpPr>
          <p:nvPr/>
        </p:nvSpPr>
        <p:spPr>
          <a:xfrm>
            <a:off x="4225925" y="4938304"/>
            <a:ext cx="4419600" cy="109728"/>
          </a:xfrm>
          <a:prstGeom prst="rect">
            <a:avLst/>
          </a:prstGeom>
        </p:spPr>
        <p:txBody>
          <a:bodyPr vert="horz" anchor="ctr"/>
          <a:lstStyle>
            <a:lvl1pPr marL="0" indent="0" algn="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Arial" charset="0"/>
              <a:buNone/>
              <a:defRPr sz="900" kern="1200">
                <a:solidFill>
                  <a:schemeClr val="tx1"/>
                </a:solidFill>
                <a:latin typeface="Egyptienne F LT Std"/>
                <a:ea typeface="MS PGothic" pitchFamily="34" charset="-128"/>
                <a:cs typeface="Egyptienne F LT Std"/>
              </a:defRPr>
            </a:lvl1pPr>
            <a:lvl2pPr marL="457200" indent="-228600" algn="l" rtl="0" eaLnBrk="0" fontAlgn="base" hangingPunct="0">
              <a:lnSpc>
                <a:spcPts val="2100"/>
              </a:lnSpc>
              <a:spcBef>
                <a:spcPct val="0"/>
              </a:spcBef>
              <a:spcAft>
                <a:spcPts val="120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685800" indent="-228600" algn="l" rtl="0" eaLnBrk="0" fontAlgn="base" hangingPunct="0">
              <a:lnSpc>
                <a:spcPts val="2100"/>
              </a:lnSpc>
              <a:spcBef>
                <a:spcPct val="0"/>
              </a:spcBef>
              <a:spcAft>
                <a:spcPts val="120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914400" indent="-228600" algn="l" rtl="0" eaLnBrk="0" fontAlgn="base" hangingPunct="0">
              <a:lnSpc>
                <a:spcPts val="2100"/>
              </a:lnSpc>
              <a:spcBef>
                <a:spcPct val="0"/>
              </a:spcBef>
              <a:spcAft>
                <a:spcPts val="120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1143000" indent="-228600" algn="l" rtl="0" eaLnBrk="0" fontAlgn="base" hangingPunct="0">
              <a:lnSpc>
                <a:spcPts val="2100"/>
              </a:lnSpc>
              <a:spcBef>
                <a:spcPct val="0"/>
              </a:spcBef>
              <a:spcAft>
                <a:spcPts val="1200"/>
              </a:spcAft>
              <a:buFont typeface="Cambria" charset="0"/>
              <a:buChar char="̶"/>
              <a:defRPr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1371600" indent="-228600" algn="l" defTabSz="914400" rtl="0" eaLnBrk="1" latinLnBrk="0" hangingPunct="1">
              <a:lnSpc>
                <a:spcPts val="21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914400" rtl="0" eaLnBrk="1" latinLnBrk="0" hangingPunct="1">
              <a:lnSpc>
                <a:spcPts val="2100"/>
              </a:lnSpc>
              <a:spcBef>
                <a:spcPts val="0"/>
              </a:spcBef>
              <a:spcAft>
                <a:spcPts val="1200"/>
              </a:spcAft>
              <a:buFont typeface="Cambria" panose="02040503050406030204" pitchFamily="18" charset="0"/>
              <a:buChar char="̶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latin typeface="Cambria" panose="02040503050406030204" pitchFamily="18" charset="0"/>
                <a:cs typeface="HumstSlab712 BT Roman"/>
              </a:rPr>
              <a:t>IS GQO GIO Functional Review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8563016" y="4927729"/>
            <a:ext cx="228598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2"/>
                </a:solidFill>
                <a:latin typeface="HumstSlab712 BT Roman"/>
                <a:ea typeface="MS PGothic" charset="0"/>
                <a:cs typeface="HumstSlab712 BT Roman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mbria" charset="0"/>
                <a:ea typeface="MS PGothic" charset="0"/>
                <a:cs typeface="MS PGothic" charset="0"/>
              </a:defRPr>
            </a:lvl9pPr>
          </a:lstStyle>
          <a:p>
            <a:pPr algn="r"/>
            <a:fld id="{210D6F30-3479-EB47-B616-273BCC2A68D5}" type="slidenum">
              <a:rPr lang="en-US" sz="900" smtClean="0">
                <a:latin typeface="Cambria" panose="02040503050406030204" pitchFamily="18" charset="0"/>
              </a:rPr>
              <a:pPr algn="r"/>
              <a:t>‹#›</a:t>
            </a:fld>
            <a:endParaRPr lang="en-US" sz="900" dirty="0">
              <a:latin typeface="Cambria" panose="02040503050406030204" pitchFamily="18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11163" y="4910365"/>
            <a:ext cx="1143000" cy="138499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dirty="0"/>
              <a:t>June 2018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2"/>
          <a:stretch>
            <a:fillRect/>
          </a:stretch>
        </p:blipFill>
        <p:spPr>
          <a:xfrm>
            <a:off x="7932420" y="269241"/>
            <a:ext cx="914400" cy="231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320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4" r:id="rId1"/>
    <p:sldLayoutId id="2147484055" r:id="rId2"/>
    <p:sldLayoutId id="2147484056" r:id="rId3"/>
    <p:sldLayoutId id="2147484057" r:id="rId4"/>
    <p:sldLayoutId id="2147484058" r:id="rId5"/>
    <p:sldLayoutId id="2147484059" r:id="rId6"/>
    <p:sldLayoutId id="2147484060" r:id="rId7"/>
    <p:sldLayoutId id="2147484061" r:id="rId8"/>
    <p:sldLayoutId id="2147484062" r:id="rId9"/>
    <p:sldLayoutId id="2147484063" r:id="rId10"/>
    <p:sldLayoutId id="2147484064" r:id="rId11"/>
    <p:sldLayoutId id="2147484065" r:id="rId12"/>
    <p:sldLayoutId id="2147484066" r:id="rId13"/>
    <p:sldLayoutId id="2147484067" r:id="rId14"/>
    <p:sldLayoutId id="2147484068" r:id="rId15"/>
    <p:sldLayoutId id="2147484069" r:id="rId16"/>
    <p:sldLayoutId id="2147484070" r:id="rId17"/>
    <p:sldLayoutId id="2147484071" r:id="rId18"/>
    <p:sldLayoutId id="2147484072" r:id="rId19"/>
    <p:sldLayoutId id="2147484073" r:id="rId20"/>
    <p:sldLayoutId id="2147484074" r:id="rId21"/>
    <p:sldLayoutId id="2147484075" r:id="rId22"/>
    <p:sldLayoutId id="2147484076" r:id="rId23"/>
    <p:sldLayoutId id="2147484077" r:id="rId24"/>
    <p:sldLayoutId id="2147484078" r:id="rId25"/>
    <p:sldLayoutId id="2147484079" r:id="rId26"/>
    <p:sldLayoutId id="2147484080" r:id="rId27"/>
    <p:sldLayoutId id="2147484081" r:id="rId28"/>
    <p:sldLayoutId id="2147484082" r:id="rId29"/>
    <p:sldLayoutId id="2147484083" r:id="rId30"/>
    <p:sldLayoutId id="2147484084" r:id="rId31"/>
    <p:sldLayoutId id="2147484085" r:id="rId32"/>
    <p:sldLayoutId id="2147484086" r:id="rId33"/>
    <p:sldLayoutId id="2147484087" r:id="rId34"/>
    <p:sldLayoutId id="2147484088" r:id="rId35"/>
    <p:sldLayoutId id="2147484089" r:id="rId36"/>
    <p:sldLayoutId id="2147484090" r:id="rId37"/>
    <p:sldLayoutId id="2147484091" r:id="rId38"/>
    <p:sldLayoutId id="2147484092" r:id="rId39"/>
    <p:sldLayoutId id="2147484094" r:id="rId40"/>
  </p:sldLayoutIdLst>
  <p:hf sldNum="0" hdr="0" ftr="0"/>
  <p:txStyles>
    <p:titleStyle>
      <a:lvl1pPr algn="l" rtl="0" eaLnBrk="1" fontAlgn="base" hangingPunct="1">
        <a:spcBef>
          <a:spcPct val="0"/>
        </a:spcBef>
        <a:spcAft>
          <a:spcPts val="2000"/>
        </a:spcAft>
        <a:defRPr sz="2500" kern="12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MS PGothic" pitchFamily="34" charset="-128"/>
          <a:cs typeface="MS PGothic" charset="0"/>
        </a:defRPr>
      </a:lvl2pPr>
      <a:lvl3pPr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MS PGothic" pitchFamily="34" charset="-128"/>
          <a:cs typeface="MS PGothic" charset="0"/>
        </a:defRPr>
      </a:lvl3pPr>
      <a:lvl4pPr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MS PGothic" pitchFamily="34" charset="-128"/>
          <a:cs typeface="MS PGothic" charset="0"/>
        </a:defRPr>
      </a:lvl4pPr>
      <a:lvl5pPr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MS PGothic" pitchFamily="34" charset="-128"/>
          <a:cs typeface="MS PGothic" charset="0"/>
        </a:defRPr>
      </a:lvl5pPr>
      <a:lvl6pPr marL="457189"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ＭＳ Ｐゴシック" charset="0"/>
        </a:defRPr>
      </a:lvl6pPr>
      <a:lvl7pPr marL="914378"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ＭＳ Ｐゴシック" charset="0"/>
        </a:defRPr>
      </a:lvl7pPr>
      <a:lvl8pPr marL="1371566"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ＭＳ Ｐゴシック" charset="0"/>
        </a:defRPr>
      </a:lvl8pPr>
      <a:lvl9pPr marL="1828754" algn="l" rtl="0" eaLnBrk="1" fontAlgn="base" hangingPunct="1">
        <a:spcBef>
          <a:spcPct val="0"/>
        </a:spcBef>
        <a:spcAft>
          <a:spcPts val="2000"/>
        </a:spcAft>
        <a:defRPr sz="2500">
          <a:solidFill>
            <a:schemeClr val="tx1"/>
          </a:solidFill>
          <a:latin typeface="Arial Black" charset="0"/>
          <a:ea typeface="ＭＳ Ｐゴシック" charset="0"/>
        </a:defRPr>
      </a:lvl9pPr>
    </p:titleStyle>
    <p:bodyStyle>
      <a:lvl1pPr marL="0" indent="0" algn="r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Arial" charset="0"/>
        <a:buNone/>
        <a:defRPr sz="900" kern="1200">
          <a:solidFill>
            <a:schemeClr val="tx1"/>
          </a:solidFill>
          <a:latin typeface="Egyptienne F LT Std"/>
          <a:ea typeface="MS PGothic" pitchFamily="34" charset="-128"/>
          <a:cs typeface="Egyptienne F LT Std"/>
        </a:defRPr>
      </a:lvl1pPr>
      <a:lvl2pPr marL="457189" indent="-228594" algn="l" rtl="0" eaLnBrk="1" fontAlgn="base" hangingPunct="1">
        <a:lnSpc>
          <a:spcPts val="2100"/>
        </a:lnSpc>
        <a:spcBef>
          <a:spcPct val="0"/>
        </a:spcBef>
        <a:spcAft>
          <a:spcPts val="120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685783" indent="-228594" algn="l" rtl="0" eaLnBrk="1" fontAlgn="base" hangingPunct="1">
        <a:lnSpc>
          <a:spcPts val="2100"/>
        </a:lnSpc>
        <a:spcBef>
          <a:spcPct val="0"/>
        </a:spcBef>
        <a:spcAft>
          <a:spcPts val="120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914378" indent="-228594" algn="l" rtl="0" eaLnBrk="1" fontAlgn="base" hangingPunct="1">
        <a:lnSpc>
          <a:spcPts val="2100"/>
        </a:lnSpc>
        <a:spcBef>
          <a:spcPct val="0"/>
        </a:spcBef>
        <a:spcAft>
          <a:spcPts val="120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1142972" indent="-228594" algn="l" rtl="0" eaLnBrk="1" fontAlgn="base" hangingPunct="1">
        <a:lnSpc>
          <a:spcPts val="2100"/>
        </a:lnSpc>
        <a:spcBef>
          <a:spcPct val="0"/>
        </a:spcBef>
        <a:spcAft>
          <a:spcPts val="1200"/>
        </a:spcAft>
        <a:buFont typeface="Cambria" charset="0"/>
        <a:buChar char="̶"/>
        <a:defRPr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1371566" indent="-228594" algn="l" defTabSz="914378" rtl="0" eaLnBrk="1" latinLnBrk="0" hangingPunct="1">
        <a:lnSpc>
          <a:spcPts val="21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600160" indent="-228594" algn="l" defTabSz="914378" rtl="0" eaLnBrk="1" latinLnBrk="0" hangingPunct="1">
        <a:lnSpc>
          <a:spcPts val="2100"/>
        </a:lnSpc>
        <a:spcBef>
          <a:spcPts val="0"/>
        </a:spcBef>
        <a:spcAft>
          <a:spcPts val="1200"/>
        </a:spcAft>
        <a:buFont typeface="Cambria" panose="02040503050406030204" pitchFamily="18" charset="0"/>
        <a:buChar char="̶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2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2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2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22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22.xml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7EE4A2D-3997-4832-9265-49D8FE049E97}"/>
              </a:ext>
            </a:extLst>
          </p:cNvPr>
          <p:cNvSpPr/>
          <p:nvPr/>
        </p:nvSpPr>
        <p:spPr>
          <a:xfrm>
            <a:off x="2171503" y="2210457"/>
            <a:ext cx="6971307" cy="1729185"/>
          </a:xfrm>
          <a:prstGeom prst="rect">
            <a:avLst/>
          </a:prstGeom>
          <a:solidFill>
            <a:srgbClr val="002E5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C61150E5-4B4D-4AA5-B607-A3F25E43AD3C}"/>
              </a:ext>
            </a:extLst>
          </p:cNvPr>
          <p:cNvSpPr/>
          <p:nvPr/>
        </p:nvSpPr>
        <p:spPr>
          <a:xfrm flipH="1">
            <a:off x="-9525" y="-13562"/>
            <a:ext cx="3739754" cy="5184410"/>
          </a:xfrm>
          <a:custGeom>
            <a:avLst/>
            <a:gdLst>
              <a:gd name="connsiteX0" fmla="*/ 0 w 8077200"/>
              <a:gd name="connsiteY0" fmla="*/ 0 h 7126632"/>
              <a:gd name="connsiteX1" fmla="*/ 8077200 w 8077200"/>
              <a:gd name="connsiteY1" fmla="*/ 0 h 7126632"/>
              <a:gd name="connsiteX2" fmla="*/ 8077200 w 8077200"/>
              <a:gd name="connsiteY2" fmla="*/ 7126632 h 7126632"/>
              <a:gd name="connsiteX3" fmla="*/ 0 w 8077200"/>
              <a:gd name="connsiteY3" fmla="*/ 7126632 h 7126632"/>
              <a:gd name="connsiteX4" fmla="*/ 0 w 8077200"/>
              <a:gd name="connsiteY4" fmla="*/ 0 h 7126632"/>
              <a:gd name="connsiteX0" fmla="*/ 4210050 w 8077200"/>
              <a:gd name="connsiteY0" fmla="*/ 19050 h 7126632"/>
              <a:gd name="connsiteX1" fmla="*/ 8077200 w 8077200"/>
              <a:gd name="connsiteY1" fmla="*/ 0 h 7126632"/>
              <a:gd name="connsiteX2" fmla="*/ 8077200 w 8077200"/>
              <a:gd name="connsiteY2" fmla="*/ 7126632 h 7126632"/>
              <a:gd name="connsiteX3" fmla="*/ 0 w 8077200"/>
              <a:gd name="connsiteY3" fmla="*/ 7126632 h 7126632"/>
              <a:gd name="connsiteX4" fmla="*/ 4210050 w 8077200"/>
              <a:gd name="connsiteY4" fmla="*/ 19050 h 7126632"/>
              <a:gd name="connsiteX0" fmla="*/ 2705100 w 6572250"/>
              <a:gd name="connsiteY0" fmla="*/ 19050 h 7126632"/>
              <a:gd name="connsiteX1" fmla="*/ 6572250 w 6572250"/>
              <a:gd name="connsiteY1" fmla="*/ 0 h 7126632"/>
              <a:gd name="connsiteX2" fmla="*/ 6572250 w 6572250"/>
              <a:gd name="connsiteY2" fmla="*/ 7126632 h 7126632"/>
              <a:gd name="connsiteX3" fmla="*/ 0 w 6572250"/>
              <a:gd name="connsiteY3" fmla="*/ 2935632 h 7126632"/>
              <a:gd name="connsiteX4" fmla="*/ 2705100 w 6572250"/>
              <a:gd name="connsiteY4" fmla="*/ 19050 h 7126632"/>
              <a:gd name="connsiteX0" fmla="*/ 2743200 w 6610350"/>
              <a:gd name="connsiteY0" fmla="*/ 19050 h 7126632"/>
              <a:gd name="connsiteX1" fmla="*/ 6610350 w 6610350"/>
              <a:gd name="connsiteY1" fmla="*/ 0 h 7126632"/>
              <a:gd name="connsiteX2" fmla="*/ 6610350 w 6610350"/>
              <a:gd name="connsiteY2" fmla="*/ 7126632 h 7126632"/>
              <a:gd name="connsiteX3" fmla="*/ 0 w 6610350"/>
              <a:gd name="connsiteY3" fmla="*/ 2954682 h 7126632"/>
              <a:gd name="connsiteX4" fmla="*/ 2743200 w 6610350"/>
              <a:gd name="connsiteY4" fmla="*/ 19050 h 7126632"/>
              <a:gd name="connsiteX0" fmla="*/ 2743200 w 6610350"/>
              <a:gd name="connsiteY0" fmla="*/ 19050 h 7126632"/>
              <a:gd name="connsiteX1" fmla="*/ 6610350 w 6610350"/>
              <a:gd name="connsiteY1" fmla="*/ 0 h 7126632"/>
              <a:gd name="connsiteX2" fmla="*/ 6610350 w 6610350"/>
              <a:gd name="connsiteY2" fmla="*/ 7126632 h 7126632"/>
              <a:gd name="connsiteX3" fmla="*/ 3314700 w 6610350"/>
              <a:gd name="connsiteY3" fmla="*/ 5088282 h 7126632"/>
              <a:gd name="connsiteX4" fmla="*/ 0 w 6610350"/>
              <a:gd name="connsiteY4" fmla="*/ 2954682 h 7126632"/>
              <a:gd name="connsiteX5" fmla="*/ 2743200 w 6610350"/>
              <a:gd name="connsiteY5" fmla="*/ 19050 h 7126632"/>
              <a:gd name="connsiteX0" fmla="*/ 2743200 w 6610350"/>
              <a:gd name="connsiteY0" fmla="*/ 19050 h 7126632"/>
              <a:gd name="connsiteX1" fmla="*/ 6610350 w 6610350"/>
              <a:gd name="connsiteY1" fmla="*/ 0 h 7126632"/>
              <a:gd name="connsiteX2" fmla="*/ 6610350 w 6610350"/>
              <a:gd name="connsiteY2" fmla="*/ 7126632 h 7126632"/>
              <a:gd name="connsiteX3" fmla="*/ 3067050 w 6610350"/>
              <a:gd name="connsiteY3" fmla="*/ 6097932 h 7126632"/>
              <a:gd name="connsiteX4" fmla="*/ 0 w 6610350"/>
              <a:gd name="connsiteY4" fmla="*/ 2954682 h 7126632"/>
              <a:gd name="connsiteX5" fmla="*/ 2743200 w 6610350"/>
              <a:gd name="connsiteY5" fmla="*/ 19050 h 7126632"/>
              <a:gd name="connsiteX0" fmla="*/ 2743200 w 6610350"/>
              <a:gd name="connsiteY0" fmla="*/ 19050 h 6936132"/>
              <a:gd name="connsiteX1" fmla="*/ 6610350 w 6610350"/>
              <a:gd name="connsiteY1" fmla="*/ 0 h 6936132"/>
              <a:gd name="connsiteX2" fmla="*/ 6591300 w 6610350"/>
              <a:gd name="connsiteY2" fmla="*/ 6936132 h 6936132"/>
              <a:gd name="connsiteX3" fmla="*/ 3067050 w 6610350"/>
              <a:gd name="connsiteY3" fmla="*/ 6097932 h 6936132"/>
              <a:gd name="connsiteX4" fmla="*/ 0 w 6610350"/>
              <a:gd name="connsiteY4" fmla="*/ 2954682 h 6936132"/>
              <a:gd name="connsiteX5" fmla="*/ 2743200 w 6610350"/>
              <a:gd name="connsiteY5" fmla="*/ 19050 h 6936132"/>
              <a:gd name="connsiteX0" fmla="*/ 2743200 w 6610350"/>
              <a:gd name="connsiteY0" fmla="*/ 19050 h 6936132"/>
              <a:gd name="connsiteX1" fmla="*/ 6610350 w 6610350"/>
              <a:gd name="connsiteY1" fmla="*/ 0 h 6936132"/>
              <a:gd name="connsiteX2" fmla="*/ 6591300 w 6610350"/>
              <a:gd name="connsiteY2" fmla="*/ 6936132 h 6936132"/>
              <a:gd name="connsiteX3" fmla="*/ 4114800 w 6610350"/>
              <a:gd name="connsiteY3" fmla="*/ 6326532 h 6936132"/>
              <a:gd name="connsiteX4" fmla="*/ 3067050 w 6610350"/>
              <a:gd name="connsiteY4" fmla="*/ 6097932 h 6936132"/>
              <a:gd name="connsiteX5" fmla="*/ 0 w 6610350"/>
              <a:gd name="connsiteY5" fmla="*/ 2954682 h 6936132"/>
              <a:gd name="connsiteX6" fmla="*/ 2743200 w 6610350"/>
              <a:gd name="connsiteY6" fmla="*/ 19050 h 6936132"/>
              <a:gd name="connsiteX0" fmla="*/ 2743200 w 6610350"/>
              <a:gd name="connsiteY0" fmla="*/ 19050 h 6936132"/>
              <a:gd name="connsiteX1" fmla="*/ 6610350 w 6610350"/>
              <a:gd name="connsiteY1" fmla="*/ 0 h 6936132"/>
              <a:gd name="connsiteX2" fmla="*/ 6591300 w 6610350"/>
              <a:gd name="connsiteY2" fmla="*/ 6936132 h 6936132"/>
              <a:gd name="connsiteX3" fmla="*/ 2305050 w 6610350"/>
              <a:gd name="connsiteY3" fmla="*/ 6878982 h 6936132"/>
              <a:gd name="connsiteX4" fmla="*/ 3067050 w 6610350"/>
              <a:gd name="connsiteY4" fmla="*/ 6097932 h 6936132"/>
              <a:gd name="connsiteX5" fmla="*/ 0 w 6610350"/>
              <a:gd name="connsiteY5" fmla="*/ 2954682 h 6936132"/>
              <a:gd name="connsiteX6" fmla="*/ 2743200 w 6610350"/>
              <a:gd name="connsiteY6" fmla="*/ 19050 h 6936132"/>
              <a:gd name="connsiteX0" fmla="*/ 2743200 w 6610350"/>
              <a:gd name="connsiteY0" fmla="*/ 19050 h 6936132"/>
              <a:gd name="connsiteX1" fmla="*/ 6610350 w 6610350"/>
              <a:gd name="connsiteY1" fmla="*/ 0 h 6936132"/>
              <a:gd name="connsiteX2" fmla="*/ 6591300 w 6610350"/>
              <a:gd name="connsiteY2" fmla="*/ 6936132 h 6936132"/>
              <a:gd name="connsiteX3" fmla="*/ 2305050 w 6610350"/>
              <a:gd name="connsiteY3" fmla="*/ 6878982 h 6936132"/>
              <a:gd name="connsiteX4" fmla="*/ 3067050 w 6610350"/>
              <a:gd name="connsiteY4" fmla="*/ 6059832 h 6936132"/>
              <a:gd name="connsiteX5" fmla="*/ 0 w 6610350"/>
              <a:gd name="connsiteY5" fmla="*/ 2954682 h 6936132"/>
              <a:gd name="connsiteX6" fmla="*/ 2743200 w 6610350"/>
              <a:gd name="connsiteY6" fmla="*/ 19050 h 6936132"/>
              <a:gd name="connsiteX0" fmla="*/ 2743200 w 6610350"/>
              <a:gd name="connsiteY0" fmla="*/ 19050 h 6917082"/>
              <a:gd name="connsiteX1" fmla="*/ 6610350 w 6610350"/>
              <a:gd name="connsiteY1" fmla="*/ 0 h 6917082"/>
              <a:gd name="connsiteX2" fmla="*/ 6591300 w 6610350"/>
              <a:gd name="connsiteY2" fmla="*/ 6917082 h 6917082"/>
              <a:gd name="connsiteX3" fmla="*/ 2305050 w 6610350"/>
              <a:gd name="connsiteY3" fmla="*/ 6878982 h 6917082"/>
              <a:gd name="connsiteX4" fmla="*/ 3067050 w 6610350"/>
              <a:gd name="connsiteY4" fmla="*/ 6059832 h 6917082"/>
              <a:gd name="connsiteX5" fmla="*/ 0 w 6610350"/>
              <a:gd name="connsiteY5" fmla="*/ 2954682 h 6917082"/>
              <a:gd name="connsiteX6" fmla="*/ 2743200 w 6610350"/>
              <a:gd name="connsiteY6" fmla="*/ 19050 h 6917082"/>
              <a:gd name="connsiteX0" fmla="*/ 2743200 w 6610350"/>
              <a:gd name="connsiteY0" fmla="*/ 19050 h 6898032"/>
              <a:gd name="connsiteX1" fmla="*/ 6610350 w 6610350"/>
              <a:gd name="connsiteY1" fmla="*/ 0 h 6898032"/>
              <a:gd name="connsiteX2" fmla="*/ 6591300 w 6610350"/>
              <a:gd name="connsiteY2" fmla="*/ 6898032 h 6898032"/>
              <a:gd name="connsiteX3" fmla="*/ 2305050 w 6610350"/>
              <a:gd name="connsiteY3" fmla="*/ 6878982 h 6898032"/>
              <a:gd name="connsiteX4" fmla="*/ 3067050 w 6610350"/>
              <a:gd name="connsiteY4" fmla="*/ 6059832 h 6898032"/>
              <a:gd name="connsiteX5" fmla="*/ 0 w 6610350"/>
              <a:gd name="connsiteY5" fmla="*/ 2954682 h 6898032"/>
              <a:gd name="connsiteX6" fmla="*/ 2743200 w 6610350"/>
              <a:gd name="connsiteY6" fmla="*/ 19050 h 6898032"/>
              <a:gd name="connsiteX0" fmla="*/ 2743200 w 6610350"/>
              <a:gd name="connsiteY0" fmla="*/ 19050 h 6898032"/>
              <a:gd name="connsiteX1" fmla="*/ 6610350 w 6610350"/>
              <a:gd name="connsiteY1" fmla="*/ 0 h 6898032"/>
              <a:gd name="connsiteX2" fmla="*/ 6591300 w 6610350"/>
              <a:gd name="connsiteY2" fmla="*/ 6898032 h 6898032"/>
              <a:gd name="connsiteX3" fmla="*/ 2305050 w 6610350"/>
              <a:gd name="connsiteY3" fmla="*/ 6878982 h 6898032"/>
              <a:gd name="connsiteX4" fmla="*/ 3028950 w 6610350"/>
              <a:gd name="connsiteY4" fmla="*/ 6059832 h 6898032"/>
              <a:gd name="connsiteX5" fmla="*/ 0 w 6610350"/>
              <a:gd name="connsiteY5" fmla="*/ 2954682 h 6898032"/>
              <a:gd name="connsiteX6" fmla="*/ 2743200 w 6610350"/>
              <a:gd name="connsiteY6" fmla="*/ 19050 h 6898032"/>
              <a:gd name="connsiteX0" fmla="*/ 2743200 w 6610350"/>
              <a:gd name="connsiteY0" fmla="*/ 19050 h 6898032"/>
              <a:gd name="connsiteX1" fmla="*/ 6610350 w 6610350"/>
              <a:gd name="connsiteY1" fmla="*/ 0 h 6898032"/>
              <a:gd name="connsiteX2" fmla="*/ 6591300 w 6610350"/>
              <a:gd name="connsiteY2" fmla="*/ 6898032 h 6898032"/>
              <a:gd name="connsiteX3" fmla="*/ 2305050 w 6610350"/>
              <a:gd name="connsiteY3" fmla="*/ 6878982 h 6898032"/>
              <a:gd name="connsiteX4" fmla="*/ 3028950 w 6610350"/>
              <a:gd name="connsiteY4" fmla="*/ 6059832 h 6898032"/>
              <a:gd name="connsiteX5" fmla="*/ 0 w 6610350"/>
              <a:gd name="connsiteY5" fmla="*/ 2954682 h 6898032"/>
              <a:gd name="connsiteX6" fmla="*/ 2743200 w 6610350"/>
              <a:gd name="connsiteY6" fmla="*/ 19050 h 6898032"/>
              <a:gd name="connsiteX0" fmla="*/ 2667000 w 6610350"/>
              <a:gd name="connsiteY0" fmla="*/ 19050 h 6898032"/>
              <a:gd name="connsiteX1" fmla="*/ 6610350 w 6610350"/>
              <a:gd name="connsiteY1" fmla="*/ 0 h 6898032"/>
              <a:gd name="connsiteX2" fmla="*/ 6591300 w 6610350"/>
              <a:gd name="connsiteY2" fmla="*/ 6898032 h 6898032"/>
              <a:gd name="connsiteX3" fmla="*/ 2305050 w 6610350"/>
              <a:gd name="connsiteY3" fmla="*/ 6878982 h 6898032"/>
              <a:gd name="connsiteX4" fmla="*/ 3028950 w 6610350"/>
              <a:gd name="connsiteY4" fmla="*/ 6059832 h 6898032"/>
              <a:gd name="connsiteX5" fmla="*/ 0 w 6610350"/>
              <a:gd name="connsiteY5" fmla="*/ 2954682 h 6898032"/>
              <a:gd name="connsiteX6" fmla="*/ 2667000 w 6610350"/>
              <a:gd name="connsiteY6" fmla="*/ 19050 h 6898032"/>
              <a:gd name="connsiteX0" fmla="*/ 2705100 w 6648450"/>
              <a:gd name="connsiteY0" fmla="*/ 19050 h 6898032"/>
              <a:gd name="connsiteX1" fmla="*/ 6648450 w 6648450"/>
              <a:gd name="connsiteY1" fmla="*/ 0 h 6898032"/>
              <a:gd name="connsiteX2" fmla="*/ 6629400 w 6648450"/>
              <a:gd name="connsiteY2" fmla="*/ 6898032 h 6898032"/>
              <a:gd name="connsiteX3" fmla="*/ 2343150 w 6648450"/>
              <a:gd name="connsiteY3" fmla="*/ 6878982 h 6898032"/>
              <a:gd name="connsiteX4" fmla="*/ 3067050 w 6648450"/>
              <a:gd name="connsiteY4" fmla="*/ 6059832 h 6898032"/>
              <a:gd name="connsiteX5" fmla="*/ 0 w 6648450"/>
              <a:gd name="connsiteY5" fmla="*/ 2954682 h 6898032"/>
              <a:gd name="connsiteX6" fmla="*/ 2705100 w 6648450"/>
              <a:gd name="connsiteY6" fmla="*/ 19050 h 6898032"/>
              <a:gd name="connsiteX0" fmla="*/ 2705100 w 6648450"/>
              <a:gd name="connsiteY0" fmla="*/ 0 h 6898032"/>
              <a:gd name="connsiteX1" fmla="*/ 6648450 w 6648450"/>
              <a:gd name="connsiteY1" fmla="*/ 0 h 6898032"/>
              <a:gd name="connsiteX2" fmla="*/ 6629400 w 6648450"/>
              <a:gd name="connsiteY2" fmla="*/ 6898032 h 6898032"/>
              <a:gd name="connsiteX3" fmla="*/ 2343150 w 6648450"/>
              <a:gd name="connsiteY3" fmla="*/ 6878982 h 6898032"/>
              <a:gd name="connsiteX4" fmla="*/ 3067050 w 6648450"/>
              <a:gd name="connsiteY4" fmla="*/ 6059832 h 6898032"/>
              <a:gd name="connsiteX5" fmla="*/ 0 w 6648450"/>
              <a:gd name="connsiteY5" fmla="*/ 2954682 h 6898032"/>
              <a:gd name="connsiteX6" fmla="*/ 2705100 w 6648450"/>
              <a:gd name="connsiteY6" fmla="*/ 0 h 6898032"/>
              <a:gd name="connsiteX0" fmla="*/ 2734129 w 6648450"/>
              <a:gd name="connsiteY0" fmla="*/ 0 h 6912546"/>
              <a:gd name="connsiteX1" fmla="*/ 6648450 w 6648450"/>
              <a:gd name="connsiteY1" fmla="*/ 14514 h 6912546"/>
              <a:gd name="connsiteX2" fmla="*/ 6629400 w 6648450"/>
              <a:gd name="connsiteY2" fmla="*/ 6912546 h 6912546"/>
              <a:gd name="connsiteX3" fmla="*/ 2343150 w 6648450"/>
              <a:gd name="connsiteY3" fmla="*/ 6893496 h 6912546"/>
              <a:gd name="connsiteX4" fmla="*/ 3067050 w 6648450"/>
              <a:gd name="connsiteY4" fmla="*/ 6074346 h 6912546"/>
              <a:gd name="connsiteX5" fmla="*/ 0 w 6648450"/>
              <a:gd name="connsiteY5" fmla="*/ 2969196 h 6912546"/>
              <a:gd name="connsiteX6" fmla="*/ 2734129 w 6648450"/>
              <a:gd name="connsiteY6" fmla="*/ 0 h 6912546"/>
              <a:gd name="connsiteX0" fmla="*/ 2734129 w 6662964"/>
              <a:gd name="connsiteY0" fmla="*/ 14515 h 6927061"/>
              <a:gd name="connsiteX1" fmla="*/ 6662964 w 6662964"/>
              <a:gd name="connsiteY1" fmla="*/ 0 h 6927061"/>
              <a:gd name="connsiteX2" fmla="*/ 6629400 w 6662964"/>
              <a:gd name="connsiteY2" fmla="*/ 6927061 h 6927061"/>
              <a:gd name="connsiteX3" fmla="*/ 2343150 w 6662964"/>
              <a:gd name="connsiteY3" fmla="*/ 6908011 h 6927061"/>
              <a:gd name="connsiteX4" fmla="*/ 3067050 w 6662964"/>
              <a:gd name="connsiteY4" fmla="*/ 6088861 h 6927061"/>
              <a:gd name="connsiteX5" fmla="*/ 0 w 6662964"/>
              <a:gd name="connsiteY5" fmla="*/ 2983711 h 6927061"/>
              <a:gd name="connsiteX6" fmla="*/ 2734129 w 6662964"/>
              <a:gd name="connsiteY6" fmla="*/ 14515 h 6927061"/>
              <a:gd name="connsiteX0" fmla="*/ 2734129 w 6648450"/>
              <a:gd name="connsiteY0" fmla="*/ 29029 h 6941575"/>
              <a:gd name="connsiteX1" fmla="*/ 6648450 w 6648450"/>
              <a:gd name="connsiteY1" fmla="*/ 0 h 6941575"/>
              <a:gd name="connsiteX2" fmla="*/ 6629400 w 6648450"/>
              <a:gd name="connsiteY2" fmla="*/ 6941575 h 6941575"/>
              <a:gd name="connsiteX3" fmla="*/ 2343150 w 6648450"/>
              <a:gd name="connsiteY3" fmla="*/ 6922525 h 6941575"/>
              <a:gd name="connsiteX4" fmla="*/ 3067050 w 6648450"/>
              <a:gd name="connsiteY4" fmla="*/ 6103375 h 6941575"/>
              <a:gd name="connsiteX5" fmla="*/ 0 w 6648450"/>
              <a:gd name="connsiteY5" fmla="*/ 2998225 h 6941575"/>
              <a:gd name="connsiteX6" fmla="*/ 2734129 w 6648450"/>
              <a:gd name="connsiteY6" fmla="*/ 29029 h 6941575"/>
              <a:gd name="connsiteX0" fmla="*/ 2734129 w 6648450"/>
              <a:gd name="connsiteY0" fmla="*/ 14515 h 6927061"/>
              <a:gd name="connsiteX1" fmla="*/ 6648450 w 6648450"/>
              <a:gd name="connsiteY1" fmla="*/ 0 h 6927061"/>
              <a:gd name="connsiteX2" fmla="*/ 6629400 w 6648450"/>
              <a:gd name="connsiteY2" fmla="*/ 6927061 h 6927061"/>
              <a:gd name="connsiteX3" fmla="*/ 2343150 w 6648450"/>
              <a:gd name="connsiteY3" fmla="*/ 6908011 h 6927061"/>
              <a:gd name="connsiteX4" fmla="*/ 3067050 w 6648450"/>
              <a:gd name="connsiteY4" fmla="*/ 6088861 h 6927061"/>
              <a:gd name="connsiteX5" fmla="*/ 0 w 6648450"/>
              <a:gd name="connsiteY5" fmla="*/ 2983711 h 6927061"/>
              <a:gd name="connsiteX6" fmla="*/ 2734129 w 6648450"/>
              <a:gd name="connsiteY6" fmla="*/ 14515 h 6927061"/>
              <a:gd name="connsiteX0" fmla="*/ 2734129 w 6648450"/>
              <a:gd name="connsiteY0" fmla="*/ 14515 h 6912547"/>
              <a:gd name="connsiteX1" fmla="*/ 6648450 w 6648450"/>
              <a:gd name="connsiteY1" fmla="*/ 0 h 6912547"/>
              <a:gd name="connsiteX2" fmla="*/ 6614885 w 6648450"/>
              <a:gd name="connsiteY2" fmla="*/ 6912547 h 6912547"/>
              <a:gd name="connsiteX3" fmla="*/ 2343150 w 6648450"/>
              <a:gd name="connsiteY3" fmla="*/ 6908011 h 6912547"/>
              <a:gd name="connsiteX4" fmla="*/ 3067050 w 6648450"/>
              <a:gd name="connsiteY4" fmla="*/ 6088861 h 6912547"/>
              <a:gd name="connsiteX5" fmla="*/ 0 w 6648450"/>
              <a:gd name="connsiteY5" fmla="*/ 2983711 h 6912547"/>
              <a:gd name="connsiteX6" fmla="*/ 2734129 w 6648450"/>
              <a:gd name="connsiteY6" fmla="*/ 14515 h 6912547"/>
              <a:gd name="connsiteX0" fmla="*/ 2734129 w 6687457"/>
              <a:gd name="connsiteY0" fmla="*/ 14515 h 6912547"/>
              <a:gd name="connsiteX1" fmla="*/ 6648450 w 6687457"/>
              <a:gd name="connsiteY1" fmla="*/ 0 h 6912547"/>
              <a:gd name="connsiteX2" fmla="*/ 6687457 w 6687457"/>
              <a:gd name="connsiteY2" fmla="*/ 90654 h 6912547"/>
              <a:gd name="connsiteX3" fmla="*/ 6614885 w 6687457"/>
              <a:gd name="connsiteY3" fmla="*/ 6912547 h 6912547"/>
              <a:gd name="connsiteX4" fmla="*/ 2343150 w 6687457"/>
              <a:gd name="connsiteY4" fmla="*/ 6908011 h 6912547"/>
              <a:gd name="connsiteX5" fmla="*/ 3067050 w 6687457"/>
              <a:gd name="connsiteY5" fmla="*/ 6088861 h 6912547"/>
              <a:gd name="connsiteX6" fmla="*/ 0 w 6687457"/>
              <a:gd name="connsiteY6" fmla="*/ 2983711 h 6912547"/>
              <a:gd name="connsiteX7" fmla="*/ 2734129 w 6687457"/>
              <a:gd name="connsiteY7" fmla="*/ 14515 h 6912547"/>
              <a:gd name="connsiteX0" fmla="*/ 2734129 w 6658429"/>
              <a:gd name="connsiteY0" fmla="*/ 14515 h 6912547"/>
              <a:gd name="connsiteX1" fmla="*/ 6648450 w 6658429"/>
              <a:gd name="connsiteY1" fmla="*/ 0 h 6912547"/>
              <a:gd name="connsiteX2" fmla="*/ 6658429 w 6658429"/>
              <a:gd name="connsiteY2" fmla="*/ 76140 h 6912547"/>
              <a:gd name="connsiteX3" fmla="*/ 6614885 w 6658429"/>
              <a:gd name="connsiteY3" fmla="*/ 6912547 h 6912547"/>
              <a:gd name="connsiteX4" fmla="*/ 2343150 w 6658429"/>
              <a:gd name="connsiteY4" fmla="*/ 6908011 h 6912547"/>
              <a:gd name="connsiteX5" fmla="*/ 3067050 w 6658429"/>
              <a:gd name="connsiteY5" fmla="*/ 6088861 h 6912547"/>
              <a:gd name="connsiteX6" fmla="*/ 0 w 6658429"/>
              <a:gd name="connsiteY6" fmla="*/ 2983711 h 6912547"/>
              <a:gd name="connsiteX7" fmla="*/ 2734129 w 6658429"/>
              <a:gd name="connsiteY7" fmla="*/ 14515 h 6912547"/>
              <a:gd name="connsiteX0" fmla="*/ 2734129 w 6648450"/>
              <a:gd name="connsiteY0" fmla="*/ 14515 h 6912547"/>
              <a:gd name="connsiteX1" fmla="*/ 6648450 w 6648450"/>
              <a:gd name="connsiteY1" fmla="*/ 0 h 6912547"/>
              <a:gd name="connsiteX2" fmla="*/ 6614885 w 6648450"/>
              <a:gd name="connsiteY2" fmla="*/ 6912547 h 6912547"/>
              <a:gd name="connsiteX3" fmla="*/ 2343150 w 6648450"/>
              <a:gd name="connsiteY3" fmla="*/ 6908011 h 6912547"/>
              <a:gd name="connsiteX4" fmla="*/ 3067050 w 6648450"/>
              <a:gd name="connsiteY4" fmla="*/ 6088861 h 6912547"/>
              <a:gd name="connsiteX5" fmla="*/ 0 w 6648450"/>
              <a:gd name="connsiteY5" fmla="*/ 2983711 h 6912547"/>
              <a:gd name="connsiteX6" fmla="*/ 2734129 w 6648450"/>
              <a:gd name="connsiteY6" fmla="*/ 14515 h 6912547"/>
              <a:gd name="connsiteX0" fmla="*/ 2734129 w 6648450"/>
              <a:gd name="connsiteY0" fmla="*/ 14515 h 6912547"/>
              <a:gd name="connsiteX1" fmla="*/ 6648450 w 6648450"/>
              <a:gd name="connsiteY1" fmla="*/ 0 h 6912547"/>
              <a:gd name="connsiteX2" fmla="*/ 6614885 w 6648450"/>
              <a:gd name="connsiteY2" fmla="*/ 6912547 h 6912547"/>
              <a:gd name="connsiteX3" fmla="*/ 2343150 w 6648450"/>
              <a:gd name="connsiteY3" fmla="*/ 6908011 h 6912547"/>
              <a:gd name="connsiteX4" fmla="*/ 3067050 w 6648450"/>
              <a:gd name="connsiteY4" fmla="*/ 6088861 h 6912547"/>
              <a:gd name="connsiteX5" fmla="*/ 0 w 6648450"/>
              <a:gd name="connsiteY5" fmla="*/ 2983711 h 6912547"/>
              <a:gd name="connsiteX6" fmla="*/ 2734129 w 6648450"/>
              <a:gd name="connsiteY6" fmla="*/ 14515 h 6912547"/>
              <a:gd name="connsiteX0" fmla="*/ 2734129 w 6648450"/>
              <a:gd name="connsiteY0" fmla="*/ 14515 h 6927061"/>
              <a:gd name="connsiteX1" fmla="*/ 6648450 w 6648450"/>
              <a:gd name="connsiteY1" fmla="*/ 0 h 6927061"/>
              <a:gd name="connsiteX2" fmla="*/ 6643913 w 6648450"/>
              <a:gd name="connsiteY2" fmla="*/ 6927061 h 6927061"/>
              <a:gd name="connsiteX3" fmla="*/ 2343150 w 6648450"/>
              <a:gd name="connsiteY3" fmla="*/ 6908011 h 6927061"/>
              <a:gd name="connsiteX4" fmla="*/ 3067050 w 6648450"/>
              <a:gd name="connsiteY4" fmla="*/ 6088861 h 6927061"/>
              <a:gd name="connsiteX5" fmla="*/ 0 w 6648450"/>
              <a:gd name="connsiteY5" fmla="*/ 2983711 h 6927061"/>
              <a:gd name="connsiteX6" fmla="*/ 2734129 w 6648450"/>
              <a:gd name="connsiteY6" fmla="*/ 14515 h 6927061"/>
              <a:gd name="connsiteX0" fmla="*/ 2734129 w 6648450"/>
              <a:gd name="connsiteY0" fmla="*/ 14515 h 6912547"/>
              <a:gd name="connsiteX1" fmla="*/ 6648450 w 6648450"/>
              <a:gd name="connsiteY1" fmla="*/ 0 h 6912547"/>
              <a:gd name="connsiteX2" fmla="*/ 6643913 w 6648450"/>
              <a:gd name="connsiteY2" fmla="*/ 6912547 h 6912547"/>
              <a:gd name="connsiteX3" fmla="*/ 2343150 w 6648450"/>
              <a:gd name="connsiteY3" fmla="*/ 6908011 h 6912547"/>
              <a:gd name="connsiteX4" fmla="*/ 3067050 w 6648450"/>
              <a:gd name="connsiteY4" fmla="*/ 6088861 h 6912547"/>
              <a:gd name="connsiteX5" fmla="*/ 0 w 6648450"/>
              <a:gd name="connsiteY5" fmla="*/ 2983711 h 6912547"/>
              <a:gd name="connsiteX6" fmla="*/ 2734129 w 6648450"/>
              <a:gd name="connsiteY6" fmla="*/ 14515 h 6912547"/>
              <a:gd name="connsiteX0" fmla="*/ 2734129 w 6648450"/>
              <a:gd name="connsiteY0" fmla="*/ 0 h 6927060"/>
              <a:gd name="connsiteX1" fmla="*/ 6648450 w 6648450"/>
              <a:gd name="connsiteY1" fmla="*/ 14513 h 6927060"/>
              <a:gd name="connsiteX2" fmla="*/ 6643913 w 6648450"/>
              <a:gd name="connsiteY2" fmla="*/ 6927060 h 6927060"/>
              <a:gd name="connsiteX3" fmla="*/ 2343150 w 6648450"/>
              <a:gd name="connsiteY3" fmla="*/ 6922524 h 6927060"/>
              <a:gd name="connsiteX4" fmla="*/ 3067050 w 6648450"/>
              <a:gd name="connsiteY4" fmla="*/ 6103374 h 6927060"/>
              <a:gd name="connsiteX5" fmla="*/ 0 w 6648450"/>
              <a:gd name="connsiteY5" fmla="*/ 2998224 h 6927060"/>
              <a:gd name="connsiteX6" fmla="*/ 2734129 w 6648450"/>
              <a:gd name="connsiteY6" fmla="*/ 0 h 6927060"/>
              <a:gd name="connsiteX0" fmla="*/ 2719615 w 6648450"/>
              <a:gd name="connsiteY0" fmla="*/ 1 h 6912547"/>
              <a:gd name="connsiteX1" fmla="*/ 6648450 w 6648450"/>
              <a:gd name="connsiteY1" fmla="*/ 0 h 6912547"/>
              <a:gd name="connsiteX2" fmla="*/ 6643913 w 6648450"/>
              <a:gd name="connsiteY2" fmla="*/ 6912547 h 6912547"/>
              <a:gd name="connsiteX3" fmla="*/ 2343150 w 6648450"/>
              <a:gd name="connsiteY3" fmla="*/ 6908011 h 6912547"/>
              <a:gd name="connsiteX4" fmla="*/ 3067050 w 6648450"/>
              <a:gd name="connsiteY4" fmla="*/ 6088861 h 6912547"/>
              <a:gd name="connsiteX5" fmla="*/ 0 w 6648450"/>
              <a:gd name="connsiteY5" fmla="*/ 2983711 h 6912547"/>
              <a:gd name="connsiteX6" fmla="*/ 2719615 w 6648450"/>
              <a:gd name="connsiteY6" fmla="*/ 1 h 6912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48450" h="6912547">
                <a:moveTo>
                  <a:pt x="2719615" y="1"/>
                </a:moveTo>
                <a:lnTo>
                  <a:pt x="6648450" y="0"/>
                </a:lnTo>
                <a:cubicBezTo>
                  <a:pt x="6646938" y="2309020"/>
                  <a:pt x="6645425" y="4603527"/>
                  <a:pt x="6643913" y="6912547"/>
                </a:cubicBezTo>
                <a:lnTo>
                  <a:pt x="2343150" y="6908011"/>
                </a:lnTo>
                <a:lnTo>
                  <a:pt x="3067050" y="6088861"/>
                </a:lnTo>
                <a:lnTo>
                  <a:pt x="0" y="2983711"/>
                </a:lnTo>
                <a:lnTo>
                  <a:pt x="2719615" y="1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13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5D6F3026-D7E0-4402-ADCD-6EAFD6B37D8C}"/>
              </a:ext>
            </a:extLst>
          </p:cNvPr>
          <p:cNvSpPr/>
          <p:nvPr/>
        </p:nvSpPr>
        <p:spPr>
          <a:xfrm flipH="1">
            <a:off x="-9526" y="1"/>
            <a:ext cx="3739754" cy="5184410"/>
          </a:xfrm>
          <a:custGeom>
            <a:avLst/>
            <a:gdLst>
              <a:gd name="connsiteX0" fmla="*/ 0 w 8077200"/>
              <a:gd name="connsiteY0" fmla="*/ 0 h 7126632"/>
              <a:gd name="connsiteX1" fmla="*/ 8077200 w 8077200"/>
              <a:gd name="connsiteY1" fmla="*/ 0 h 7126632"/>
              <a:gd name="connsiteX2" fmla="*/ 8077200 w 8077200"/>
              <a:gd name="connsiteY2" fmla="*/ 7126632 h 7126632"/>
              <a:gd name="connsiteX3" fmla="*/ 0 w 8077200"/>
              <a:gd name="connsiteY3" fmla="*/ 7126632 h 7126632"/>
              <a:gd name="connsiteX4" fmla="*/ 0 w 8077200"/>
              <a:gd name="connsiteY4" fmla="*/ 0 h 7126632"/>
              <a:gd name="connsiteX0" fmla="*/ 4210050 w 8077200"/>
              <a:gd name="connsiteY0" fmla="*/ 19050 h 7126632"/>
              <a:gd name="connsiteX1" fmla="*/ 8077200 w 8077200"/>
              <a:gd name="connsiteY1" fmla="*/ 0 h 7126632"/>
              <a:gd name="connsiteX2" fmla="*/ 8077200 w 8077200"/>
              <a:gd name="connsiteY2" fmla="*/ 7126632 h 7126632"/>
              <a:gd name="connsiteX3" fmla="*/ 0 w 8077200"/>
              <a:gd name="connsiteY3" fmla="*/ 7126632 h 7126632"/>
              <a:gd name="connsiteX4" fmla="*/ 4210050 w 8077200"/>
              <a:gd name="connsiteY4" fmla="*/ 19050 h 7126632"/>
              <a:gd name="connsiteX0" fmla="*/ 2705100 w 6572250"/>
              <a:gd name="connsiteY0" fmla="*/ 19050 h 7126632"/>
              <a:gd name="connsiteX1" fmla="*/ 6572250 w 6572250"/>
              <a:gd name="connsiteY1" fmla="*/ 0 h 7126632"/>
              <a:gd name="connsiteX2" fmla="*/ 6572250 w 6572250"/>
              <a:gd name="connsiteY2" fmla="*/ 7126632 h 7126632"/>
              <a:gd name="connsiteX3" fmla="*/ 0 w 6572250"/>
              <a:gd name="connsiteY3" fmla="*/ 2935632 h 7126632"/>
              <a:gd name="connsiteX4" fmla="*/ 2705100 w 6572250"/>
              <a:gd name="connsiteY4" fmla="*/ 19050 h 7126632"/>
              <a:gd name="connsiteX0" fmla="*/ 2743200 w 6610350"/>
              <a:gd name="connsiteY0" fmla="*/ 19050 h 7126632"/>
              <a:gd name="connsiteX1" fmla="*/ 6610350 w 6610350"/>
              <a:gd name="connsiteY1" fmla="*/ 0 h 7126632"/>
              <a:gd name="connsiteX2" fmla="*/ 6610350 w 6610350"/>
              <a:gd name="connsiteY2" fmla="*/ 7126632 h 7126632"/>
              <a:gd name="connsiteX3" fmla="*/ 0 w 6610350"/>
              <a:gd name="connsiteY3" fmla="*/ 2954682 h 7126632"/>
              <a:gd name="connsiteX4" fmla="*/ 2743200 w 6610350"/>
              <a:gd name="connsiteY4" fmla="*/ 19050 h 7126632"/>
              <a:gd name="connsiteX0" fmla="*/ 2743200 w 6610350"/>
              <a:gd name="connsiteY0" fmla="*/ 19050 h 7126632"/>
              <a:gd name="connsiteX1" fmla="*/ 6610350 w 6610350"/>
              <a:gd name="connsiteY1" fmla="*/ 0 h 7126632"/>
              <a:gd name="connsiteX2" fmla="*/ 6610350 w 6610350"/>
              <a:gd name="connsiteY2" fmla="*/ 7126632 h 7126632"/>
              <a:gd name="connsiteX3" fmla="*/ 3314700 w 6610350"/>
              <a:gd name="connsiteY3" fmla="*/ 5088282 h 7126632"/>
              <a:gd name="connsiteX4" fmla="*/ 0 w 6610350"/>
              <a:gd name="connsiteY4" fmla="*/ 2954682 h 7126632"/>
              <a:gd name="connsiteX5" fmla="*/ 2743200 w 6610350"/>
              <a:gd name="connsiteY5" fmla="*/ 19050 h 7126632"/>
              <a:gd name="connsiteX0" fmla="*/ 2743200 w 6610350"/>
              <a:gd name="connsiteY0" fmla="*/ 19050 h 7126632"/>
              <a:gd name="connsiteX1" fmla="*/ 6610350 w 6610350"/>
              <a:gd name="connsiteY1" fmla="*/ 0 h 7126632"/>
              <a:gd name="connsiteX2" fmla="*/ 6610350 w 6610350"/>
              <a:gd name="connsiteY2" fmla="*/ 7126632 h 7126632"/>
              <a:gd name="connsiteX3" fmla="*/ 3067050 w 6610350"/>
              <a:gd name="connsiteY3" fmla="*/ 6097932 h 7126632"/>
              <a:gd name="connsiteX4" fmla="*/ 0 w 6610350"/>
              <a:gd name="connsiteY4" fmla="*/ 2954682 h 7126632"/>
              <a:gd name="connsiteX5" fmla="*/ 2743200 w 6610350"/>
              <a:gd name="connsiteY5" fmla="*/ 19050 h 7126632"/>
              <a:gd name="connsiteX0" fmla="*/ 2743200 w 6610350"/>
              <a:gd name="connsiteY0" fmla="*/ 19050 h 6936132"/>
              <a:gd name="connsiteX1" fmla="*/ 6610350 w 6610350"/>
              <a:gd name="connsiteY1" fmla="*/ 0 h 6936132"/>
              <a:gd name="connsiteX2" fmla="*/ 6591300 w 6610350"/>
              <a:gd name="connsiteY2" fmla="*/ 6936132 h 6936132"/>
              <a:gd name="connsiteX3" fmla="*/ 3067050 w 6610350"/>
              <a:gd name="connsiteY3" fmla="*/ 6097932 h 6936132"/>
              <a:gd name="connsiteX4" fmla="*/ 0 w 6610350"/>
              <a:gd name="connsiteY4" fmla="*/ 2954682 h 6936132"/>
              <a:gd name="connsiteX5" fmla="*/ 2743200 w 6610350"/>
              <a:gd name="connsiteY5" fmla="*/ 19050 h 6936132"/>
              <a:gd name="connsiteX0" fmla="*/ 2743200 w 6610350"/>
              <a:gd name="connsiteY0" fmla="*/ 19050 h 6936132"/>
              <a:gd name="connsiteX1" fmla="*/ 6610350 w 6610350"/>
              <a:gd name="connsiteY1" fmla="*/ 0 h 6936132"/>
              <a:gd name="connsiteX2" fmla="*/ 6591300 w 6610350"/>
              <a:gd name="connsiteY2" fmla="*/ 6936132 h 6936132"/>
              <a:gd name="connsiteX3" fmla="*/ 4114800 w 6610350"/>
              <a:gd name="connsiteY3" fmla="*/ 6326532 h 6936132"/>
              <a:gd name="connsiteX4" fmla="*/ 3067050 w 6610350"/>
              <a:gd name="connsiteY4" fmla="*/ 6097932 h 6936132"/>
              <a:gd name="connsiteX5" fmla="*/ 0 w 6610350"/>
              <a:gd name="connsiteY5" fmla="*/ 2954682 h 6936132"/>
              <a:gd name="connsiteX6" fmla="*/ 2743200 w 6610350"/>
              <a:gd name="connsiteY6" fmla="*/ 19050 h 6936132"/>
              <a:gd name="connsiteX0" fmla="*/ 2743200 w 6610350"/>
              <a:gd name="connsiteY0" fmla="*/ 19050 h 6936132"/>
              <a:gd name="connsiteX1" fmla="*/ 6610350 w 6610350"/>
              <a:gd name="connsiteY1" fmla="*/ 0 h 6936132"/>
              <a:gd name="connsiteX2" fmla="*/ 6591300 w 6610350"/>
              <a:gd name="connsiteY2" fmla="*/ 6936132 h 6936132"/>
              <a:gd name="connsiteX3" fmla="*/ 2305050 w 6610350"/>
              <a:gd name="connsiteY3" fmla="*/ 6878982 h 6936132"/>
              <a:gd name="connsiteX4" fmla="*/ 3067050 w 6610350"/>
              <a:gd name="connsiteY4" fmla="*/ 6097932 h 6936132"/>
              <a:gd name="connsiteX5" fmla="*/ 0 w 6610350"/>
              <a:gd name="connsiteY5" fmla="*/ 2954682 h 6936132"/>
              <a:gd name="connsiteX6" fmla="*/ 2743200 w 6610350"/>
              <a:gd name="connsiteY6" fmla="*/ 19050 h 6936132"/>
              <a:gd name="connsiteX0" fmla="*/ 2743200 w 6610350"/>
              <a:gd name="connsiteY0" fmla="*/ 19050 h 6936132"/>
              <a:gd name="connsiteX1" fmla="*/ 6610350 w 6610350"/>
              <a:gd name="connsiteY1" fmla="*/ 0 h 6936132"/>
              <a:gd name="connsiteX2" fmla="*/ 6591300 w 6610350"/>
              <a:gd name="connsiteY2" fmla="*/ 6936132 h 6936132"/>
              <a:gd name="connsiteX3" fmla="*/ 2305050 w 6610350"/>
              <a:gd name="connsiteY3" fmla="*/ 6878982 h 6936132"/>
              <a:gd name="connsiteX4" fmla="*/ 3067050 w 6610350"/>
              <a:gd name="connsiteY4" fmla="*/ 6059832 h 6936132"/>
              <a:gd name="connsiteX5" fmla="*/ 0 w 6610350"/>
              <a:gd name="connsiteY5" fmla="*/ 2954682 h 6936132"/>
              <a:gd name="connsiteX6" fmla="*/ 2743200 w 6610350"/>
              <a:gd name="connsiteY6" fmla="*/ 19050 h 6936132"/>
              <a:gd name="connsiteX0" fmla="*/ 2743200 w 6610350"/>
              <a:gd name="connsiteY0" fmla="*/ 19050 h 6917082"/>
              <a:gd name="connsiteX1" fmla="*/ 6610350 w 6610350"/>
              <a:gd name="connsiteY1" fmla="*/ 0 h 6917082"/>
              <a:gd name="connsiteX2" fmla="*/ 6591300 w 6610350"/>
              <a:gd name="connsiteY2" fmla="*/ 6917082 h 6917082"/>
              <a:gd name="connsiteX3" fmla="*/ 2305050 w 6610350"/>
              <a:gd name="connsiteY3" fmla="*/ 6878982 h 6917082"/>
              <a:gd name="connsiteX4" fmla="*/ 3067050 w 6610350"/>
              <a:gd name="connsiteY4" fmla="*/ 6059832 h 6917082"/>
              <a:gd name="connsiteX5" fmla="*/ 0 w 6610350"/>
              <a:gd name="connsiteY5" fmla="*/ 2954682 h 6917082"/>
              <a:gd name="connsiteX6" fmla="*/ 2743200 w 6610350"/>
              <a:gd name="connsiteY6" fmla="*/ 19050 h 6917082"/>
              <a:gd name="connsiteX0" fmla="*/ 2743200 w 6610350"/>
              <a:gd name="connsiteY0" fmla="*/ 19050 h 6898032"/>
              <a:gd name="connsiteX1" fmla="*/ 6610350 w 6610350"/>
              <a:gd name="connsiteY1" fmla="*/ 0 h 6898032"/>
              <a:gd name="connsiteX2" fmla="*/ 6591300 w 6610350"/>
              <a:gd name="connsiteY2" fmla="*/ 6898032 h 6898032"/>
              <a:gd name="connsiteX3" fmla="*/ 2305050 w 6610350"/>
              <a:gd name="connsiteY3" fmla="*/ 6878982 h 6898032"/>
              <a:gd name="connsiteX4" fmla="*/ 3067050 w 6610350"/>
              <a:gd name="connsiteY4" fmla="*/ 6059832 h 6898032"/>
              <a:gd name="connsiteX5" fmla="*/ 0 w 6610350"/>
              <a:gd name="connsiteY5" fmla="*/ 2954682 h 6898032"/>
              <a:gd name="connsiteX6" fmla="*/ 2743200 w 6610350"/>
              <a:gd name="connsiteY6" fmla="*/ 19050 h 6898032"/>
              <a:gd name="connsiteX0" fmla="*/ 2743200 w 6610350"/>
              <a:gd name="connsiteY0" fmla="*/ 19050 h 6898032"/>
              <a:gd name="connsiteX1" fmla="*/ 6610350 w 6610350"/>
              <a:gd name="connsiteY1" fmla="*/ 0 h 6898032"/>
              <a:gd name="connsiteX2" fmla="*/ 6591300 w 6610350"/>
              <a:gd name="connsiteY2" fmla="*/ 6898032 h 6898032"/>
              <a:gd name="connsiteX3" fmla="*/ 2305050 w 6610350"/>
              <a:gd name="connsiteY3" fmla="*/ 6878982 h 6898032"/>
              <a:gd name="connsiteX4" fmla="*/ 3028950 w 6610350"/>
              <a:gd name="connsiteY4" fmla="*/ 6059832 h 6898032"/>
              <a:gd name="connsiteX5" fmla="*/ 0 w 6610350"/>
              <a:gd name="connsiteY5" fmla="*/ 2954682 h 6898032"/>
              <a:gd name="connsiteX6" fmla="*/ 2743200 w 6610350"/>
              <a:gd name="connsiteY6" fmla="*/ 19050 h 6898032"/>
              <a:gd name="connsiteX0" fmla="*/ 2743200 w 6610350"/>
              <a:gd name="connsiteY0" fmla="*/ 19050 h 6898032"/>
              <a:gd name="connsiteX1" fmla="*/ 6610350 w 6610350"/>
              <a:gd name="connsiteY1" fmla="*/ 0 h 6898032"/>
              <a:gd name="connsiteX2" fmla="*/ 6591300 w 6610350"/>
              <a:gd name="connsiteY2" fmla="*/ 6898032 h 6898032"/>
              <a:gd name="connsiteX3" fmla="*/ 2305050 w 6610350"/>
              <a:gd name="connsiteY3" fmla="*/ 6878982 h 6898032"/>
              <a:gd name="connsiteX4" fmla="*/ 3028950 w 6610350"/>
              <a:gd name="connsiteY4" fmla="*/ 6059832 h 6898032"/>
              <a:gd name="connsiteX5" fmla="*/ 0 w 6610350"/>
              <a:gd name="connsiteY5" fmla="*/ 2954682 h 6898032"/>
              <a:gd name="connsiteX6" fmla="*/ 2743200 w 6610350"/>
              <a:gd name="connsiteY6" fmla="*/ 19050 h 6898032"/>
              <a:gd name="connsiteX0" fmla="*/ 2667000 w 6610350"/>
              <a:gd name="connsiteY0" fmla="*/ 19050 h 6898032"/>
              <a:gd name="connsiteX1" fmla="*/ 6610350 w 6610350"/>
              <a:gd name="connsiteY1" fmla="*/ 0 h 6898032"/>
              <a:gd name="connsiteX2" fmla="*/ 6591300 w 6610350"/>
              <a:gd name="connsiteY2" fmla="*/ 6898032 h 6898032"/>
              <a:gd name="connsiteX3" fmla="*/ 2305050 w 6610350"/>
              <a:gd name="connsiteY3" fmla="*/ 6878982 h 6898032"/>
              <a:gd name="connsiteX4" fmla="*/ 3028950 w 6610350"/>
              <a:gd name="connsiteY4" fmla="*/ 6059832 h 6898032"/>
              <a:gd name="connsiteX5" fmla="*/ 0 w 6610350"/>
              <a:gd name="connsiteY5" fmla="*/ 2954682 h 6898032"/>
              <a:gd name="connsiteX6" fmla="*/ 2667000 w 6610350"/>
              <a:gd name="connsiteY6" fmla="*/ 19050 h 6898032"/>
              <a:gd name="connsiteX0" fmla="*/ 2705100 w 6648450"/>
              <a:gd name="connsiteY0" fmla="*/ 19050 h 6898032"/>
              <a:gd name="connsiteX1" fmla="*/ 6648450 w 6648450"/>
              <a:gd name="connsiteY1" fmla="*/ 0 h 6898032"/>
              <a:gd name="connsiteX2" fmla="*/ 6629400 w 6648450"/>
              <a:gd name="connsiteY2" fmla="*/ 6898032 h 6898032"/>
              <a:gd name="connsiteX3" fmla="*/ 2343150 w 6648450"/>
              <a:gd name="connsiteY3" fmla="*/ 6878982 h 6898032"/>
              <a:gd name="connsiteX4" fmla="*/ 3067050 w 6648450"/>
              <a:gd name="connsiteY4" fmla="*/ 6059832 h 6898032"/>
              <a:gd name="connsiteX5" fmla="*/ 0 w 6648450"/>
              <a:gd name="connsiteY5" fmla="*/ 2954682 h 6898032"/>
              <a:gd name="connsiteX6" fmla="*/ 2705100 w 6648450"/>
              <a:gd name="connsiteY6" fmla="*/ 19050 h 6898032"/>
              <a:gd name="connsiteX0" fmla="*/ 2705100 w 6648450"/>
              <a:gd name="connsiteY0" fmla="*/ 0 h 6898032"/>
              <a:gd name="connsiteX1" fmla="*/ 6648450 w 6648450"/>
              <a:gd name="connsiteY1" fmla="*/ 0 h 6898032"/>
              <a:gd name="connsiteX2" fmla="*/ 6629400 w 6648450"/>
              <a:gd name="connsiteY2" fmla="*/ 6898032 h 6898032"/>
              <a:gd name="connsiteX3" fmla="*/ 2343150 w 6648450"/>
              <a:gd name="connsiteY3" fmla="*/ 6878982 h 6898032"/>
              <a:gd name="connsiteX4" fmla="*/ 3067050 w 6648450"/>
              <a:gd name="connsiteY4" fmla="*/ 6059832 h 6898032"/>
              <a:gd name="connsiteX5" fmla="*/ 0 w 6648450"/>
              <a:gd name="connsiteY5" fmla="*/ 2954682 h 6898032"/>
              <a:gd name="connsiteX6" fmla="*/ 2705100 w 6648450"/>
              <a:gd name="connsiteY6" fmla="*/ 0 h 6898032"/>
              <a:gd name="connsiteX0" fmla="*/ 2734129 w 6648450"/>
              <a:gd name="connsiteY0" fmla="*/ 0 h 6912546"/>
              <a:gd name="connsiteX1" fmla="*/ 6648450 w 6648450"/>
              <a:gd name="connsiteY1" fmla="*/ 14514 h 6912546"/>
              <a:gd name="connsiteX2" fmla="*/ 6629400 w 6648450"/>
              <a:gd name="connsiteY2" fmla="*/ 6912546 h 6912546"/>
              <a:gd name="connsiteX3" fmla="*/ 2343150 w 6648450"/>
              <a:gd name="connsiteY3" fmla="*/ 6893496 h 6912546"/>
              <a:gd name="connsiteX4" fmla="*/ 3067050 w 6648450"/>
              <a:gd name="connsiteY4" fmla="*/ 6074346 h 6912546"/>
              <a:gd name="connsiteX5" fmla="*/ 0 w 6648450"/>
              <a:gd name="connsiteY5" fmla="*/ 2969196 h 6912546"/>
              <a:gd name="connsiteX6" fmla="*/ 2734129 w 6648450"/>
              <a:gd name="connsiteY6" fmla="*/ 0 h 6912546"/>
              <a:gd name="connsiteX0" fmla="*/ 2734129 w 6662964"/>
              <a:gd name="connsiteY0" fmla="*/ 14515 h 6927061"/>
              <a:gd name="connsiteX1" fmla="*/ 6662964 w 6662964"/>
              <a:gd name="connsiteY1" fmla="*/ 0 h 6927061"/>
              <a:gd name="connsiteX2" fmla="*/ 6629400 w 6662964"/>
              <a:gd name="connsiteY2" fmla="*/ 6927061 h 6927061"/>
              <a:gd name="connsiteX3" fmla="*/ 2343150 w 6662964"/>
              <a:gd name="connsiteY3" fmla="*/ 6908011 h 6927061"/>
              <a:gd name="connsiteX4" fmla="*/ 3067050 w 6662964"/>
              <a:gd name="connsiteY4" fmla="*/ 6088861 h 6927061"/>
              <a:gd name="connsiteX5" fmla="*/ 0 w 6662964"/>
              <a:gd name="connsiteY5" fmla="*/ 2983711 h 6927061"/>
              <a:gd name="connsiteX6" fmla="*/ 2734129 w 6662964"/>
              <a:gd name="connsiteY6" fmla="*/ 14515 h 6927061"/>
              <a:gd name="connsiteX0" fmla="*/ 2734129 w 6648450"/>
              <a:gd name="connsiteY0" fmla="*/ 29029 h 6941575"/>
              <a:gd name="connsiteX1" fmla="*/ 6648450 w 6648450"/>
              <a:gd name="connsiteY1" fmla="*/ 0 h 6941575"/>
              <a:gd name="connsiteX2" fmla="*/ 6629400 w 6648450"/>
              <a:gd name="connsiteY2" fmla="*/ 6941575 h 6941575"/>
              <a:gd name="connsiteX3" fmla="*/ 2343150 w 6648450"/>
              <a:gd name="connsiteY3" fmla="*/ 6922525 h 6941575"/>
              <a:gd name="connsiteX4" fmla="*/ 3067050 w 6648450"/>
              <a:gd name="connsiteY4" fmla="*/ 6103375 h 6941575"/>
              <a:gd name="connsiteX5" fmla="*/ 0 w 6648450"/>
              <a:gd name="connsiteY5" fmla="*/ 2998225 h 6941575"/>
              <a:gd name="connsiteX6" fmla="*/ 2734129 w 6648450"/>
              <a:gd name="connsiteY6" fmla="*/ 29029 h 6941575"/>
              <a:gd name="connsiteX0" fmla="*/ 2734129 w 6648450"/>
              <a:gd name="connsiteY0" fmla="*/ 14515 h 6927061"/>
              <a:gd name="connsiteX1" fmla="*/ 6648450 w 6648450"/>
              <a:gd name="connsiteY1" fmla="*/ 0 h 6927061"/>
              <a:gd name="connsiteX2" fmla="*/ 6629400 w 6648450"/>
              <a:gd name="connsiteY2" fmla="*/ 6927061 h 6927061"/>
              <a:gd name="connsiteX3" fmla="*/ 2343150 w 6648450"/>
              <a:gd name="connsiteY3" fmla="*/ 6908011 h 6927061"/>
              <a:gd name="connsiteX4" fmla="*/ 3067050 w 6648450"/>
              <a:gd name="connsiteY4" fmla="*/ 6088861 h 6927061"/>
              <a:gd name="connsiteX5" fmla="*/ 0 w 6648450"/>
              <a:gd name="connsiteY5" fmla="*/ 2983711 h 6927061"/>
              <a:gd name="connsiteX6" fmla="*/ 2734129 w 6648450"/>
              <a:gd name="connsiteY6" fmla="*/ 14515 h 6927061"/>
              <a:gd name="connsiteX0" fmla="*/ 2734129 w 6648450"/>
              <a:gd name="connsiteY0" fmla="*/ 14515 h 6912547"/>
              <a:gd name="connsiteX1" fmla="*/ 6648450 w 6648450"/>
              <a:gd name="connsiteY1" fmla="*/ 0 h 6912547"/>
              <a:gd name="connsiteX2" fmla="*/ 6614885 w 6648450"/>
              <a:gd name="connsiteY2" fmla="*/ 6912547 h 6912547"/>
              <a:gd name="connsiteX3" fmla="*/ 2343150 w 6648450"/>
              <a:gd name="connsiteY3" fmla="*/ 6908011 h 6912547"/>
              <a:gd name="connsiteX4" fmla="*/ 3067050 w 6648450"/>
              <a:gd name="connsiteY4" fmla="*/ 6088861 h 6912547"/>
              <a:gd name="connsiteX5" fmla="*/ 0 w 6648450"/>
              <a:gd name="connsiteY5" fmla="*/ 2983711 h 6912547"/>
              <a:gd name="connsiteX6" fmla="*/ 2734129 w 6648450"/>
              <a:gd name="connsiteY6" fmla="*/ 14515 h 6912547"/>
              <a:gd name="connsiteX0" fmla="*/ 2734129 w 6687457"/>
              <a:gd name="connsiteY0" fmla="*/ 14515 h 6912547"/>
              <a:gd name="connsiteX1" fmla="*/ 6648450 w 6687457"/>
              <a:gd name="connsiteY1" fmla="*/ 0 h 6912547"/>
              <a:gd name="connsiteX2" fmla="*/ 6687457 w 6687457"/>
              <a:gd name="connsiteY2" fmla="*/ 90654 h 6912547"/>
              <a:gd name="connsiteX3" fmla="*/ 6614885 w 6687457"/>
              <a:gd name="connsiteY3" fmla="*/ 6912547 h 6912547"/>
              <a:gd name="connsiteX4" fmla="*/ 2343150 w 6687457"/>
              <a:gd name="connsiteY4" fmla="*/ 6908011 h 6912547"/>
              <a:gd name="connsiteX5" fmla="*/ 3067050 w 6687457"/>
              <a:gd name="connsiteY5" fmla="*/ 6088861 h 6912547"/>
              <a:gd name="connsiteX6" fmla="*/ 0 w 6687457"/>
              <a:gd name="connsiteY6" fmla="*/ 2983711 h 6912547"/>
              <a:gd name="connsiteX7" fmla="*/ 2734129 w 6687457"/>
              <a:gd name="connsiteY7" fmla="*/ 14515 h 6912547"/>
              <a:gd name="connsiteX0" fmla="*/ 2734129 w 6658429"/>
              <a:gd name="connsiteY0" fmla="*/ 14515 h 6912547"/>
              <a:gd name="connsiteX1" fmla="*/ 6648450 w 6658429"/>
              <a:gd name="connsiteY1" fmla="*/ 0 h 6912547"/>
              <a:gd name="connsiteX2" fmla="*/ 6658429 w 6658429"/>
              <a:gd name="connsiteY2" fmla="*/ 76140 h 6912547"/>
              <a:gd name="connsiteX3" fmla="*/ 6614885 w 6658429"/>
              <a:gd name="connsiteY3" fmla="*/ 6912547 h 6912547"/>
              <a:gd name="connsiteX4" fmla="*/ 2343150 w 6658429"/>
              <a:gd name="connsiteY4" fmla="*/ 6908011 h 6912547"/>
              <a:gd name="connsiteX5" fmla="*/ 3067050 w 6658429"/>
              <a:gd name="connsiteY5" fmla="*/ 6088861 h 6912547"/>
              <a:gd name="connsiteX6" fmla="*/ 0 w 6658429"/>
              <a:gd name="connsiteY6" fmla="*/ 2983711 h 6912547"/>
              <a:gd name="connsiteX7" fmla="*/ 2734129 w 6658429"/>
              <a:gd name="connsiteY7" fmla="*/ 14515 h 6912547"/>
              <a:gd name="connsiteX0" fmla="*/ 2734129 w 6648450"/>
              <a:gd name="connsiteY0" fmla="*/ 14515 h 6912547"/>
              <a:gd name="connsiteX1" fmla="*/ 6648450 w 6648450"/>
              <a:gd name="connsiteY1" fmla="*/ 0 h 6912547"/>
              <a:gd name="connsiteX2" fmla="*/ 6614885 w 6648450"/>
              <a:gd name="connsiteY2" fmla="*/ 6912547 h 6912547"/>
              <a:gd name="connsiteX3" fmla="*/ 2343150 w 6648450"/>
              <a:gd name="connsiteY3" fmla="*/ 6908011 h 6912547"/>
              <a:gd name="connsiteX4" fmla="*/ 3067050 w 6648450"/>
              <a:gd name="connsiteY4" fmla="*/ 6088861 h 6912547"/>
              <a:gd name="connsiteX5" fmla="*/ 0 w 6648450"/>
              <a:gd name="connsiteY5" fmla="*/ 2983711 h 6912547"/>
              <a:gd name="connsiteX6" fmla="*/ 2734129 w 6648450"/>
              <a:gd name="connsiteY6" fmla="*/ 14515 h 6912547"/>
              <a:gd name="connsiteX0" fmla="*/ 2734129 w 6648450"/>
              <a:gd name="connsiteY0" fmla="*/ 14515 h 6912547"/>
              <a:gd name="connsiteX1" fmla="*/ 6648450 w 6648450"/>
              <a:gd name="connsiteY1" fmla="*/ 0 h 6912547"/>
              <a:gd name="connsiteX2" fmla="*/ 6614885 w 6648450"/>
              <a:gd name="connsiteY2" fmla="*/ 6912547 h 6912547"/>
              <a:gd name="connsiteX3" fmla="*/ 2343150 w 6648450"/>
              <a:gd name="connsiteY3" fmla="*/ 6908011 h 6912547"/>
              <a:gd name="connsiteX4" fmla="*/ 3067050 w 6648450"/>
              <a:gd name="connsiteY4" fmla="*/ 6088861 h 6912547"/>
              <a:gd name="connsiteX5" fmla="*/ 0 w 6648450"/>
              <a:gd name="connsiteY5" fmla="*/ 2983711 h 6912547"/>
              <a:gd name="connsiteX6" fmla="*/ 2734129 w 6648450"/>
              <a:gd name="connsiteY6" fmla="*/ 14515 h 6912547"/>
              <a:gd name="connsiteX0" fmla="*/ 2734129 w 6648450"/>
              <a:gd name="connsiteY0" fmla="*/ 14515 h 6927061"/>
              <a:gd name="connsiteX1" fmla="*/ 6648450 w 6648450"/>
              <a:gd name="connsiteY1" fmla="*/ 0 h 6927061"/>
              <a:gd name="connsiteX2" fmla="*/ 6643913 w 6648450"/>
              <a:gd name="connsiteY2" fmla="*/ 6927061 h 6927061"/>
              <a:gd name="connsiteX3" fmla="*/ 2343150 w 6648450"/>
              <a:gd name="connsiteY3" fmla="*/ 6908011 h 6927061"/>
              <a:gd name="connsiteX4" fmla="*/ 3067050 w 6648450"/>
              <a:gd name="connsiteY4" fmla="*/ 6088861 h 6927061"/>
              <a:gd name="connsiteX5" fmla="*/ 0 w 6648450"/>
              <a:gd name="connsiteY5" fmla="*/ 2983711 h 6927061"/>
              <a:gd name="connsiteX6" fmla="*/ 2734129 w 6648450"/>
              <a:gd name="connsiteY6" fmla="*/ 14515 h 6927061"/>
              <a:gd name="connsiteX0" fmla="*/ 2734129 w 6648450"/>
              <a:gd name="connsiteY0" fmla="*/ 14515 h 6912547"/>
              <a:gd name="connsiteX1" fmla="*/ 6648450 w 6648450"/>
              <a:gd name="connsiteY1" fmla="*/ 0 h 6912547"/>
              <a:gd name="connsiteX2" fmla="*/ 6643913 w 6648450"/>
              <a:gd name="connsiteY2" fmla="*/ 6912547 h 6912547"/>
              <a:gd name="connsiteX3" fmla="*/ 2343150 w 6648450"/>
              <a:gd name="connsiteY3" fmla="*/ 6908011 h 6912547"/>
              <a:gd name="connsiteX4" fmla="*/ 3067050 w 6648450"/>
              <a:gd name="connsiteY4" fmla="*/ 6088861 h 6912547"/>
              <a:gd name="connsiteX5" fmla="*/ 0 w 6648450"/>
              <a:gd name="connsiteY5" fmla="*/ 2983711 h 6912547"/>
              <a:gd name="connsiteX6" fmla="*/ 2734129 w 6648450"/>
              <a:gd name="connsiteY6" fmla="*/ 14515 h 6912547"/>
              <a:gd name="connsiteX0" fmla="*/ 2734129 w 6648450"/>
              <a:gd name="connsiteY0" fmla="*/ 0 h 6927060"/>
              <a:gd name="connsiteX1" fmla="*/ 6648450 w 6648450"/>
              <a:gd name="connsiteY1" fmla="*/ 14513 h 6927060"/>
              <a:gd name="connsiteX2" fmla="*/ 6643913 w 6648450"/>
              <a:gd name="connsiteY2" fmla="*/ 6927060 h 6927060"/>
              <a:gd name="connsiteX3" fmla="*/ 2343150 w 6648450"/>
              <a:gd name="connsiteY3" fmla="*/ 6922524 h 6927060"/>
              <a:gd name="connsiteX4" fmla="*/ 3067050 w 6648450"/>
              <a:gd name="connsiteY4" fmla="*/ 6103374 h 6927060"/>
              <a:gd name="connsiteX5" fmla="*/ 0 w 6648450"/>
              <a:gd name="connsiteY5" fmla="*/ 2998224 h 6927060"/>
              <a:gd name="connsiteX6" fmla="*/ 2734129 w 6648450"/>
              <a:gd name="connsiteY6" fmla="*/ 0 h 6927060"/>
              <a:gd name="connsiteX0" fmla="*/ 2719615 w 6648450"/>
              <a:gd name="connsiteY0" fmla="*/ 1 h 6912547"/>
              <a:gd name="connsiteX1" fmla="*/ 6648450 w 6648450"/>
              <a:gd name="connsiteY1" fmla="*/ 0 h 6912547"/>
              <a:gd name="connsiteX2" fmla="*/ 6643913 w 6648450"/>
              <a:gd name="connsiteY2" fmla="*/ 6912547 h 6912547"/>
              <a:gd name="connsiteX3" fmla="*/ 2343150 w 6648450"/>
              <a:gd name="connsiteY3" fmla="*/ 6908011 h 6912547"/>
              <a:gd name="connsiteX4" fmla="*/ 3067050 w 6648450"/>
              <a:gd name="connsiteY4" fmla="*/ 6088861 h 6912547"/>
              <a:gd name="connsiteX5" fmla="*/ 0 w 6648450"/>
              <a:gd name="connsiteY5" fmla="*/ 2983711 h 6912547"/>
              <a:gd name="connsiteX6" fmla="*/ 2719615 w 6648450"/>
              <a:gd name="connsiteY6" fmla="*/ 1 h 6912547"/>
              <a:gd name="connsiteX0" fmla="*/ 2719615 w 6648450"/>
              <a:gd name="connsiteY0" fmla="*/ 1 h 6912547"/>
              <a:gd name="connsiteX1" fmla="*/ 6648450 w 6648450"/>
              <a:gd name="connsiteY1" fmla="*/ 0 h 6912547"/>
              <a:gd name="connsiteX2" fmla="*/ 6643913 w 6648450"/>
              <a:gd name="connsiteY2" fmla="*/ 6912547 h 6912547"/>
              <a:gd name="connsiteX3" fmla="*/ 2343150 w 6648450"/>
              <a:gd name="connsiteY3" fmla="*/ 6908011 h 6912547"/>
              <a:gd name="connsiteX4" fmla="*/ 3067050 w 6648450"/>
              <a:gd name="connsiteY4" fmla="*/ 6058381 h 6912547"/>
              <a:gd name="connsiteX5" fmla="*/ 0 w 6648450"/>
              <a:gd name="connsiteY5" fmla="*/ 2983711 h 6912547"/>
              <a:gd name="connsiteX6" fmla="*/ 2719615 w 6648450"/>
              <a:gd name="connsiteY6" fmla="*/ 1 h 6912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48450" h="6912547">
                <a:moveTo>
                  <a:pt x="2719615" y="1"/>
                </a:moveTo>
                <a:lnTo>
                  <a:pt x="6648450" y="0"/>
                </a:lnTo>
                <a:cubicBezTo>
                  <a:pt x="6646938" y="2309020"/>
                  <a:pt x="6645425" y="4603527"/>
                  <a:pt x="6643913" y="6912547"/>
                </a:cubicBezTo>
                <a:lnTo>
                  <a:pt x="2343150" y="6908011"/>
                </a:lnTo>
                <a:lnTo>
                  <a:pt x="3067050" y="6058381"/>
                </a:lnTo>
                <a:lnTo>
                  <a:pt x="0" y="2983711"/>
                </a:lnTo>
                <a:lnTo>
                  <a:pt x="2719615" y="1"/>
                </a:lnTo>
                <a:close/>
              </a:path>
            </a:pathLst>
          </a:custGeom>
          <a:solidFill>
            <a:srgbClr val="2C2C2C">
              <a:alpha val="58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13" kern="0" dirty="0">
              <a:solidFill>
                <a:prstClr val="white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DA5262C-1105-4D66-BBA0-8CAD52E710A8}"/>
              </a:ext>
            </a:extLst>
          </p:cNvPr>
          <p:cNvSpPr/>
          <p:nvPr/>
        </p:nvSpPr>
        <p:spPr>
          <a:xfrm>
            <a:off x="4984819" y="4794399"/>
            <a:ext cx="6094412" cy="219291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/>
            <a:r>
              <a:rPr lang="en-US" sz="825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© 2019  YASH Technologies | www.yash.com | Confidential</a:t>
            </a:r>
            <a:endParaRPr lang="en-IN" sz="825" dirty="0">
              <a:solidFill>
                <a:schemeClr val="tx1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44450EF-E9A3-4EAC-9732-FD5A1B08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95013" y="3006961"/>
            <a:ext cx="5412581" cy="792122"/>
          </a:xfrm>
        </p:spPr>
        <p:txBody>
          <a:bodyPr anchor="t">
            <a:normAutofit fontScale="90000"/>
          </a:bodyPr>
          <a:lstStyle/>
          <a:p>
            <a:r>
              <a:rPr lang="en-US" sz="3300" dirty="0">
                <a:solidFill>
                  <a:srgbClr val="FFFF00"/>
                </a:solidFill>
                <a:latin typeface="+mn-lt"/>
              </a:rPr>
              <a:t>Coursera Integration Project Kickoff</a:t>
            </a:r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242E1177-9B77-4575-A254-1A8C5521E2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64674" y="3955187"/>
            <a:ext cx="5343692" cy="527004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cs typeface="Arial" panose="020B0604020202020204" pitchFamily="34" charset="0"/>
              </a:rPr>
              <a:t>Date: Feb 13, 2019</a:t>
            </a:r>
          </a:p>
          <a:p>
            <a:endParaRPr lang="en-US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D668B91-80C9-4CD7-9F84-4640839447C1}"/>
              </a:ext>
            </a:extLst>
          </p:cNvPr>
          <p:cNvGrpSpPr/>
          <p:nvPr/>
        </p:nvGrpSpPr>
        <p:grpSpPr>
          <a:xfrm flipH="1">
            <a:off x="2002141" y="-12031"/>
            <a:ext cx="2218135" cy="5199289"/>
            <a:chOff x="4819650" y="-29030"/>
            <a:chExt cx="3943350" cy="6916059"/>
          </a:xfrm>
        </p:grpSpPr>
        <p:sp>
          <p:nvSpPr>
            <p:cNvPr id="6" name="Rectangle 3">
              <a:extLst>
                <a:ext uri="{FF2B5EF4-FFF2-40B4-BE49-F238E27FC236}">
                  <a16:creationId xmlns:a16="http://schemas.microsoft.com/office/drawing/2014/main" id="{ECCF95FB-0035-4ADC-AE4A-9C41E61FA4F9}"/>
                </a:ext>
              </a:extLst>
            </p:cNvPr>
            <p:cNvSpPr/>
            <p:nvPr/>
          </p:nvSpPr>
          <p:spPr>
            <a:xfrm>
              <a:off x="4819651" y="-29030"/>
              <a:ext cx="3642261" cy="2981779"/>
            </a:xfrm>
            <a:custGeom>
              <a:avLst/>
              <a:gdLst>
                <a:gd name="connsiteX0" fmla="*/ 0 w 5772150"/>
                <a:gd name="connsiteY0" fmla="*/ 0 h 3200400"/>
                <a:gd name="connsiteX1" fmla="*/ 5772150 w 5772150"/>
                <a:gd name="connsiteY1" fmla="*/ 0 h 3200400"/>
                <a:gd name="connsiteX2" fmla="*/ 5772150 w 5772150"/>
                <a:gd name="connsiteY2" fmla="*/ 3200400 h 3200400"/>
                <a:gd name="connsiteX3" fmla="*/ 0 w 5772150"/>
                <a:gd name="connsiteY3" fmla="*/ 3200400 h 3200400"/>
                <a:gd name="connsiteX4" fmla="*/ 0 w 5772150"/>
                <a:gd name="connsiteY4" fmla="*/ 0 h 3200400"/>
                <a:gd name="connsiteX0" fmla="*/ 0 w 5772150"/>
                <a:gd name="connsiteY0" fmla="*/ 0 h 3200400"/>
                <a:gd name="connsiteX1" fmla="*/ 5772150 w 5772150"/>
                <a:gd name="connsiteY1" fmla="*/ 0 h 3200400"/>
                <a:gd name="connsiteX2" fmla="*/ 4381500 w 5772150"/>
                <a:gd name="connsiteY2" fmla="*/ 228600 h 3200400"/>
                <a:gd name="connsiteX3" fmla="*/ 0 w 5772150"/>
                <a:gd name="connsiteY3" fmla="*/ 3200400 h 3200400"/>
                <a:gd name="connsiteX4" fmla="*/ 0 w 5772150"/>
                <a:gd name="connsiteY4" fmla="*/ 0 h 3200400"/>
                <a:gd name="connsiteX0" fmla="*/ 0 w 4381500"/>
                <a:gd name="connsiteY0" fmla="*/ 0 h 3200400"/>
                <a:gd name="connsiteX1" fmla="*/ 3390900 w 4381500"/>
                <a:gd name="connsiteY1" fmla="*/ 171450 h 3200400"/>
                <a:gd name="connsiteX2" fmla="*/ 4381500 w 4381500"/>
                <a:gd name="connsiteY2" fmla="*/ 228600 h 3200400"/>
                <a:gd name="connsiteX3" fmla="*/ 0 w 4381500"/>
                <a:gd name="connsiteY3" fmla="*/ 3200400 h 3200400"/>
                <a:gd name="connsiteX4" fmla="*/ 0 w 4381500"/>
                <a:gd name="connsiteY4" fmla="*/ 0 h 3200400"/>
                <a:gd name="connsiteX0" fmla="*/ 0 w 4381500"/>
                <a:gd name="connsiteY0" fmla="*/ 0 h 3200400"/>
                <a:gd name="connsiteX1" fmla="*/ 3390900 w 4381500"/>
                <a:gd name="connsiteY1" fmla="*/ 171450 h 3200400"/>
                <a:gd name="connsiteX2" fmla="*/ 4381500 w 4381500"/>
                <a:gd name="connsiteY2" fmla="*/ 171450 h 3200400"/>
                <a:gd name="connsiteX3" fmla="*/ 0 w 4381500"/>
                <a:gd name="connsiteY3" fmla="*/ 3200400 h 3200400"/>
                <a:gd name="connsiteX4" fmla="*/ 0 w 4381500"/>
                <a:gd name="connsiteY4" fmla="*/ 0 h 3200400"/>
                <a:gd name="connsiteX0" fmla="*/ 0 w 4381500"/>
                <a:gd name="connsiteY0" fmla="*/ 0 h 3200400"/>
                <a:gd name="connsiteX1" fmla="*/ 3390900 w 4381500"/>
                <a:gd name="connsiteY1" fmla="*/ 171450 h 3200400"/>
                <a:gd name="connsiteX2" fmla="*/ 4381500 w 4381500"/>
                <a:gd name="connsiteY2" fmla="*/ 171450 h 3200400"/>
                <a:gd name="connsiteX3" fmla="*/ 1600200 w 4381500"/>
                <a:gd name="connsiteY3" fmla="*/ 3200400 h 3200400"/>
                <a:gd name="connsiteX4" fmla="*/ 0 w 4381500"/>
                <a:gd name="connsiteY4" fmla="*/ 0 h 3200400"/>
                <a:gd name="connsiteX0" fmla="*/ 0 w 3676650"/>
                <a:gd name="connsiteY0" fmla="*/ 2990850 h 3028950"/>
                <a:gd name="connsiteX1" fmla="*/ 2686050 w 3676650"/>
                <a:gd name="connsiteY1" fmla="*/ 0 h 3028950"/>
                <a:gd name="connsiteX2" fmla="*/ 3676650 w 3676650"/>
                <a:gd name="connsiteY2" fmla="*/ 0 h 3028950"/>
                <a:gd name="connsiteX3" fmla="*/ 895350 w 3676650"/>
                <a:gd name="connsiteY3" fmla="*/ 3028950 h 3028950"/>
                <a:gd name="connsiteX4" fmla="*/ 0 w 3676650"/>
                <a:gd name="connsiteY4" fmla="*/ 2990850 h 3028950"/>
                <a:gd name="connsiteX0" fmla="*/ 0 w 3676650"/>
                <a:gd name="connsiteY0" fmla="*/ 2990850 h 2990850"/>
                <a:gd name="connsiteX1" fmla="*/ 2686050 w 3676650"/>
                <a:gd name="connsiteY1" fmla="*/ 0 h 2990850"/>
                <a:gd name="connsiteX2" fmla="*/ 3676650 w 3676650"/>
                <a:gd name="connsiteY2" fmla="*/ 0 h 2990850"/>
                <a:gd name="connsiteX3" fmla="*/ 971550 w 3676650"/>
                <a:gd name="connsiteY3" fmla="*/ 2952750 h 2990850"/>
                <a:gd name="connsiteX4" fmla="*/ 0 w 3676650"/>
                <a:gd name="connsiteY4" fmla="*/ 2990850 h 2990850"/>
                <a:gd name="connsiteX0" fmla="*/ 0 w 3638550"/>
                <a:gd name="connsiteY0" fmla="*/ 2933700 h 2952750"/>
                <a:gd name="connsiteX1" fmla="*/ 2647950 w 3638550"/>
                <a:gd name="connsiteY1" fmla="*/ 0 h 2952750"/>
                <a:gd name="connsiteX2" fmla="*/ 3638550 w 3638550"/>
                <a:gd name="connsiteY2" fmla="*/ 0 h 2952750"/>
                <a:gd name="connsiteX3" fmla="*/ 933450 w 3638550"/>
                <a:gd name="connsiteY3" fmla="*/ 2952750 h 2952750"/>
                <a:gd name="connsiteX4" fmla="*/ 0 w 3638550"/>
                <a:gd name="connsiteY4" fmla="*/ 2933700 h 2952750"/>
                <a:gd name="connsiteX0" fmla="*/ 0 w 3638550"/>
                <a:gd name="connsiteY0" fmla="*/ 2952750 h 2971800"/>
                <a:gd name="connsiteX1" fmla="*/ 2762250 w 3638550"/>
                <a:gd name="connsiteY1" fmla="*/ 0 h 2971800"/>
                <a:gd name="connsiteX2" fmla="*/ 3638550 w 3638550"/>
                <a:gd name="connsiteY2" fmla="*/ 19050 h 2971800"/>
                <a:gd name="connsiteX3" fmla="*/ 933450 w 3638550"/>
                <a:gd name="connsiteY3" fmla="*/ 2971800 h 2971800"/>
                <a:gd name="connsiteX4" fmla="*/ 0 w 3638550"/>
                <a:gd name="connsiteY4" fmla="*/ 2952750 h 2971800"/>
                <a:gd name="connsiteX0" fmla="*/ 0 w 3665846"/>
                <a:gd name="connsiteY0" fmla="*/ 2952750 h 2971800"/>
                <a:gd name="connsiteX1" fmla="*/ 2762250 w 3665846"/>
                <a:gd name="connsiteY1" fmla="*/ 0 h 2971800"/>
                <a:gd name="connsiteX2" fmla="*/ 3665846 w 3665846"/>
                <a:gd name="connsiteY2" fmla="*/ 19050 h 2971800"/>
                <a:gd name="connsiteX3" fmla="*/ 933450 w 3665846"/>
                <a:gd name="connsiteY3" fmla="*/ 2971800 h 2971800"/>
                <a:gd name="connsiteX4" fmla="*/ 0 w 3665846"/>
                <a:gd name="connsiteY4" fmla="*/ 2952750 h 2971800"/>
                <a:gd name="connsiteX0" fmla="*/ 0 w 3665846"/>
                <a:gd name="connsiteY0" fmla="*/ 2952750 h 2952750"/>
                <a:gd name="connsiteX1" fmla="*/ 2762250 w 3665846"/>
                <a:gd name="connsiteY1" fmla="*/ 0 h 2952750"/>
                <a:gd name="connsiteX2" fmla="*/ 3665846 w 3665846"/>
                <a:gd name="connsiteY2" fmla="*/ 19050 h 2952750"/>
                <a:gd name="connsiteX3" fmla="*/ 933450 w 3665846"/>
                <a:gd name="connsiteY3" fmla="*/ 2944505 h 2952750"/>
                <a:gd name="connsiteX4" fmla="*/ 0 w 3665846"/>
                <a:gd name="connsiteY4" fmla="*/ 2952750 h 2952750"/>
                <a:gd name="connsiteX0" fmla="*/ 0 w 3665846"/>
                <a:gd name="connsiteY0" fmla="*/ 2952750 h 2982605"/>
                <a:gd name="connsiteX1" fmla="*/ 2762250 w 3665846"/>
                <a:gd name="connsiteY1" fmla="*/ 0 h 2982605"/>
                <a:gd name="connsiteX2" fmla="*/ 3665846 w 3665846"/>
                <a:gd name="connsiteY2" fmla="*/ 19050 h 2982605"/>
                <a:gd name="connsiteX3" fmla="*/ 914400 w 3665846"/>
                <a:gd name="connsiteY3" fmla="*/ 2982605 h 2982605"/>
                <a:gd name="connsiteX4" fmla="*/ 0 w 3665846"/>
                <a:gd name="connsiteY4" fmla="*/ 2952750 h 2982605"/>
                <a:gd name="connsiteX0" fmla="*/ 0 w 3627746"/>
                <a:gd name="connsiteY0" fmla="*/ 2952750 h 2982605"/>
                <a:gd name="connsiteX1" fmla="*/ 2724150 w 3627746"/>
                <a:gd name="connsiteY1" fmla="*/ 0 h 2982605"/>
                <a:gd name="connsiteX2" fmla="*/ 3627746 w 3627746"/>
                <a:gd name="connsiteY2" fmla="*/ 19050 h 2982605"/>
                <a:gd name="connsiteX3" fmla="*/ 876300 w 3627746"/>
                <a:gd name="connsiteY3" fmla="*/ 2982605 h 2982605"/>
                <a:gd name="connsiteX4" fmla="*/ 0 w 3627746"/>
                <a:gd name="connsiteY4" fmla="*/ 2952750 h 2982605"/>
                <a:gd name="connsiteX0" fmla="*/ 0 w 3627746"/>
                <a:gd name="connsiteY0" fmla="*/ 2971800 h 2982605"/>
                <a:gd name="connsiteX1" fmla="*/ 2724150 w 3627746"/>
                <a:gd name="connsiteY1" fmla="*/ 0 h 2982605"/>
                <a:gd name="connsiteX2" fmla="*/ 3627746 w 3627746"/>
                <a:gd name="connsiteY2" fmla="*/ 19050 h 2982605"/>
                <a:gd name="connsiteX3" fmla="*/ 876300 w 3627746"/>
                <a:gd name="connsiteY3" fmla="*/ 2982605 h 2982605"/>
                <a:gd name="connsiteX4" fmla="*/ 0 w 3627746"/>
                <a:gd name="connsiteY4" fmla="*/ 2971800 h 2982605"/>
                <a:gd name="connsiteX0" fmla="*/ 0 w 3627746"/>
                <a:gd name="connsiteY0" fmla="*/ 2971800 h 2973080"/>
                <a:gd name="connsiteX1" fmla="*/ 2724150 w 3627746"/>
                <a:gd name="connsiteY1" fmla="*/ 0 h 2973080"/>
                <a:gd name="connsiteX2" fmla="*/ 3627746 w 3627746"/>
                <a:gd name="connsiteY2" fmla="*/ 19050 h 2973080"/>
                <a:gd name="connsiteX3" fmla="*/ 879475 w 3627746"/>
                <a:gd name="connsiteY3" fmla="*/ 2973080 h 2973080"/>
                <a:gd name="connsiteX4" fmla="*/ 0 w 3627746"/>
                <a:gd name="connsiteY4" fmla="*/ 2971800 h 2973080"/>
                <a:gd name="connsiteX0" fmla="*/ 0 w 3627746"/>
                <a:gd name="connsiteY0" fmla="*/ 2971800 h 2971800"/>
                <a:gd name="connsiteX1" fmla="*/ 2724150 w 3627746"/>
                <a:gd name="connsiteY1" fmla="*/ 0 h 2971800"/>
                <a:gd name="connsiteX2" fmla="*/ 3627746 w 3627746"/>
                <a:gd name="connsiteY2" fmla="*/ 19050 h 2971800"/>
                <a:gd name="connsiteX3" fmla="*/ 898525 w 3627746"/>
                <a:gd name="connsiteY3" fmla="*/ 2966730 h 2971800"/>
                <a:gd name="connsiteX4" fmla="*/ 0 w 3627746"/>
                <a:gd name="connsiteY4" fmla="*/ 2971800 h 2971800"/>
                <a:gd name="connsiteX0" fmla="*/ 0 w 3627746"/>
                <a:gd name="connsiteY0" fmla="*/ 2971800 h 2971800"/>
                <a:gd name="connsiteX1" fmla="*/ 2724150 w 3627746"/>
                <a:gd name="connsiteY1" fmla="*/ 0 h 2971800"/>
                <a:gd name="connsiteX2" fmla="*/ 3627746 w 3627746"/>
                <a:gd name="connsiteY2" fmla="*/ 19050 h 2971800"/>
                <a:gd name="connsiteX3" fmla="*/ 903288 w 3627746"/>
                <a:gd name="connsiteY3" fmla="*/ 2964348 h 2971800"/>
                <a:gd name="connsiteX4" fmla="*/ 0 w 3627746"/>
                <a:gd name="connsiteY4" fmla="*/ 2971800 h 2971800"/>
                <a:gd name="connsiteX0" fmla="*/ 0 w 3627746"/>
                <a:gd name="connsiteY0" fmla="*/ 2971800 h 2971800"/>
                <a:gd name="connsiteX1" fmla="*/ 2724150 w 3627746"/>
                <a:gd name="connsiteY1" fmla="*/ 0 h 2971800"/>
                <a:gd name="connsiteX2" fmla="*/ 3627746 w 3627746"/>
                <a:gd name="connsiteY2" fmla="*/ 19050 h 2971800"/>
                <a:gd name="connsiteX3" fmla="*/ 908050 w 3627746"/>
                <a:gd name="connsiteY3" fmla="*/ 2969111 h 2971800"/>
                <a:gd name="connsiteX4" fmla="*/ 0 w 3627746"/>
                <a:gd name="connsiteY4" fmla="*/ 2971800 h 2971800"/>
                <a:gd name="connsiteX0" fmla="*/ 0 w 3627746"/>
                <a:gd name="connsiteY0" fmla="*/ 2981779 h 2981779"/>
                <a:gd name="connsiteX1" fmla="*/ 2724150 w 3627746"/>
                <a:gd name="connsiteY1" fmla="*/ 9979 h 2981779"/>
                <a:gd name="connsiteX2" fmla="*/ 3627746 w 3627746"/>
                <a:gd name="connsiteY2" fmla="*/ 0 h 2981779"/>
                <a:gd name="connsiteX3" fmla="*/ 908050 w 3627746"/>
                <a:gd name="connsiteY3" fmla="*/ 2979090 h 2981779"/>
                <a:gd name="connsiteX4" fmla="*/ 0 w 3627746"/>
                <a:gd name="connsiteY4" fmla="*/ 2981779 h 2981779"/>
                <a:gd name="connsiteX0" fmla="*/ 0 w 3642261"/>
                <a:gd name="connsiteY0" fmla="*/ 2981779 h 2981779"/>
                <a:gd name="connsiteX1" fmla="*/ 2724150 w 3642261"/>
                <a:gd name="connsiteY1" fmla="*/ 9979 h 2981779"/>
                <a:gd name="connsiteX2" fmla="*/ 3642261 w 3642261"/>
                <a:gd name="connsiteY2" fmla="*/ 0 h 2981779"/>
                <a:gd name="connsiteX3" fmla="*/ 908050 w 3642261"/>
                <a:gd name="connsiteY3" fmla="*/ 2979090 h 2981779"/>
                <a:gd name="connsiteX4" fmla="*/ 0 w 3642261"/>
                <a:gd name="connsiteY4" fmla="*/ 2981779 h 2981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2261" h="2981779">
                  <a:moveTo>
                    <a:pt x="0" y="2981779"/>
                  </a:moveTo>
                  <a:lnTo>
                    <a:pt x="2724150" y="9979"/>
                  </a:lnTo>
                  <a:lnTo>
                    <a:pt x="3642261" y="0"/>
                  </a:lnTo>
                  <a:lnTo>
                    <a:pt x="908050" y="2979090"/>
                  </a:lnTo>
                  <a:lnTo>
                    <a:pt x="0" y="2981779"/>
                  </a:lnTo>
                  <a:close/>
                </a:path>
              </a:pathLst>
            </a:custGeom>
            <a:solidFill>
              <a:srgbClr val="1D567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5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13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" name="Rectangle 4">
              <a:extLst>
                <a:ext uri="{FF2B5EF4-FFF2-40B4-BE49-F238E27FC236}">
                  <a16:creationId xmlns:a16="http://schemas.microsoft.com/office/drawing/2014/main" id="{4D10DD58-C04A-4841-B764-6865AB3C8CFA}"/>
                </a:ext>
              </a:extLst>
            </p:cNvPr>
            <p:cNvSpPr/>
            <p:nvPr/>
          </p:nvSpPr>
          <p:spPr>
            <a:xfrm>
              <a:off x="4819650" y="2947987"/>
              <a:ext cx="3943350" cy="3939042"/>
            </a:xfrm>
            <a:custGeom>
              <a:avLst/>
              <a:gdLst>
                <a:gd name="connsiteX0" fmla="*/ 0 w 5295900"/>
                <a:gd name="connsiteY0" fmla="*/ 0 h 6076950"/>
                <a:gd name="connsiteX1" fmla="*/ 5295900 w 5295900"/>
                <a:gd name="connsiteY1" fmla="*/ 0 h 6076950"/>
                <a:gd name="connsiteX2" fmla="*/ 5295900 w 5295900"/>
                <a:gd name="connsiteY2" fmla="*/ 6076950 h 6076950"/>
                <a:gd name="connsiteX3" fmla="*/ 0 w 5295900"/>
                <a:gd name="connsiteY3" fmla="*/ 6076950 h 6076950"/>
                <a:gd name="connsiteX4" fmla="*/ 0 w 5295900"/>
                <a:gd name="connsiteY4" fmla="*/ 0 h 6076950"/>
                <a:gd name="connsiteX0" fmla="*/ 0 w 5295900"/>
                <a:gd name="connsiteY0" fmla="*/ 0 h 6076950"/>
                <a:gd name="connsiteX1" fmla="*/ 5295900 w 5295900"/>
                <a:gd name="connsiteY1" fmla="*/ 0 h 6076950"/>
                <a:gd name="connsiteX2" fmla="*/ 5295900 w 5295900"/>
                <a:gd name="connsiteY2" fmla="*/ 6076950 h 6076950"/>
                <a:gd name="connsiteX3" fmla="*/ 2743200 w 5295900"/>
                <a:gd name="connsiteY3" fmla="*/ 4171950 h 6076950"/>
                <a:gd name="connsiteX4" fmla="*/ 0 w 5295900"/>
                <a:gd name="connsiteY4" fmla="*/ 0 h 6076950"/>
                <a:gd name="connsiteX0" fmla="*/ 0 w 5295900"/>
                <a:gd name="connsiteY0" fmla="*/ 0 h 4191000"/>
                <a:gd name="connsiteX1" fmla="*/ 5295900 w 5295900"/>
                <a:gd name="connsiteY1" fmla="*/ 0 h 4191000"/>
                <a:gd name="connsiteX2" fmla="*/ 3562350 w 5295900"/>
                <a:gd name="connsiteY2" fmla="*/ 4191000 h 4191000"/>
                <a:gd name="connsiteX3" fmla="*/ 2743200 w 5295900"/>
                <a:gd name="connsiteY3" fmla="*/ 4171950 h 4191000"/>
                <a:gd name="connsiteX4" fmla="*/ 0 w 5295900"/>
                <a:gd name="connsiteY4" fmla="*/ 0 h 4191000"/>
                <a:gd name="connsiteX0" fmla="*/ 0 w 4248150"/>
                <a:gd name="connsiteY0" fmla="*/ 0 h 4191000"/>
                <a:gd name="connsiteX1" fmla="*/ 4248150 w 4248150"/>
                <a:gd name="connsiteY1" fmla="*/ 3352800 h 4191000"/>
                <a:gd name="connsiteX2" fmla="*/ 3562350 w 4248150"/>
                <a:gd name="connsiteY2" fmla="*/ 4191000 h 4191000"/>
                <a:gd name="connsiteX3" fmla="*/ 2743200 w 4248150"/>
                <a:gd name="connsiteY3" fmla="*/ 4171950 h 4191000"/>
                <a:gd name="connsiteX4" fmla="*/ 0 w 4248150"/>
                <a:gd name="connsiteY4" fmla="*/ 0 h 4191000"/>
                <a:gd name="connsiteX0" fmla="*/ 0 w 4248150"/>
                <a:gd name="connsiteY0" fmla="*/ 0 h 4191000"/>
                <a:gd name="connsiteX1" fmla="*/ 1524000 w 4248150"/>
                <a:gd name="connsiteY1" fmla="*/ 1238250 h 4191000"/>
                <a:gd name="connsiteX2" fmla="*/ 4248150 w 4248150"/>
                <a:gd name="connsiteY2" fmla="*/ 3352800 h 4191000"/>
                <a:gd name="connsiteX3" fmla="*/ 3562350 w 4248150"/>
                <a:gd name="connsiteY3" fmla="*/ 4191000 h 4191000"/>
                <a:gd name="connsiteX4" fmla="*/ 2743200 w 4248150"/>
                <a:gd name="connsiteY4" fmla="*/ 4171950 h 4191000"/>
                <a:gd name="connsiteX5" fmla="*/ 0 w 4248150"/>
                <a:gd name="connsiteY5" fmla="*/ 0 h 4191000"/>
                <a:gd name="connsiteX0" fmla="*/ 0 w 4248150"/>
                <a:gd name="connsiteY0" fmla="*/ 0 h 4191000"/>
                <a:gd name="connsiteX1" fmla="*/ 1219200 w 4248150"/>
                <a:gd name="connsiteY1" fmla="*/ 266700 h 4191000"/>
                <a:gd name="connsiteX2" fmla="*/ 4248150 w 4248150"/>
                <a:gd name="connsiteY2" fmla="*/ 3352800 h 4191000"/>
                <a:gd name="connsiteX3" fmla="*/ 3562350 w 4248150"/>
                <a:gd name="connsiteY3" fmla="*/ 4191000 h 4191000"/>
                <a:gd name="connsiteX4" fmla="*/ 2743200 w 4248150"/>
                <a:gd name="connsiteY4" fmla="*/ 4171950 h 4191000"/>
                <a:gd name="connsiteX5" fmla="*/ 0 w 4248150"/>
                <a:gd name="connsiteY5" fmla="*/ 0 h 4191000"/>
                <a:gd name="connsiteX0" fmla="*/ 0 w 3943350"/>
                <a:gd name="connsiteY0" fmla="*/ 0 h 3924300"/>
                <a:gd name="connsiteX1" fmla="*/ 914400 w 3943350"/>
                <a:gd name="connsiteY1" fmla="*/ 0 h 3924300"/>
                <a:gd name="connsiteX2" fmla="*/ 3943350 w 3943350"/>
                <a:gd name="connsiteY2" fmla="*/ 3086100 h 3924300"/>
                <a:gd name="connsiteX3" fmla="*/ 3257550 w 3943350"/>
                <a:gd name="connsiteY3" fmla="*/ 3924300 h 3924300"/>
                <a:gd name="connsiteX4" fmla="*/ 2438400 w 3943350"/>
                <a:gd name="connsiteY4" fmla="*/ 3905250 h 3924300"/>
                <a:gd name="connsiteX5" fmla="*/ 0 w 3943350"/>
                <a:gd name="connsiteY5" fmla="*/ 0 h 3924300"/>
                <a:gd name="connsiteX0" fmla="*/ 0 w 3943350"/>
                <a:gd name="connsiteY0" fmla="*/ 0 h 3924300"/>
                <a:gd name="connsiteX1" fmla="*/ 914400 w 3943350"/>
                <a:gd name="connsiteY1" fmla="*/ 0 h 3924300"/>
                <a:gd name="connsiteX2" fmla="*/ 3943350 w 3943350"/>
                <a:gd name="connsiteY2" fmla="*/ 3086100 h 3924300"/>
                <a:gd name="connsiteX3" fmla="*/ 3257550 w 3943350"/>
                <a:gd name="connsiteY3" fmla="*/ 3924300 h 3924300"/>
                <a:gd name="connsiteX4" fmla="*/ 2438400 w 3943350"/>
                <a:gd name="connsiteY4" fmla="*/ 3905250 h 3924300"/>
                <a:gd name="connsiteX5" fmla="*/ 2152650 w 3943350"/>
                <a:gd name="connsiteY5" fmla="*/ 3390900 h 3924300"/>
                <a:gd name="connsiteX6" fmla="*/ 0 w 3943350"/>
                <a:gd name="connsiteY6" fmla="*/ 0 h 3924300"/>
                <a:gd name="connsiteX0" fmla="*/ 0 w 3943350"/>
                <a:gd name="connsiteY0" fmla="*/ 0 h 3924300"/>
                <a:gd name="connsiteX1" fmla="*/ 914400 w 3943350"/>
                <a:gd name="connsiteY1" fmla="*/ 0 h 3924300"/>
                <a:gd name="connsiteX2" fmla="*/ 3943350 w 3943350"/>
                <a:gd name="connsiteY2" fmla="*/ 3086100 h 3924300"/>
                <a:gd name="connsiteX3" fmla="*/ 3257550 w 3943350"/>
                <a:gd name="connsiteY3" fmla="*/ 3924300 h 3924300"/>
                <a:gd name="connsiteX4" fmla="*/ 2438400 w 3943350"/>
                <a:gd name="connsiteY4" fmla="*/ 3905250 h 3924300"/>
                <a:gd name="connsiteX5" fmla="*/ 3048000 w 3943350"/>
                <a:gd name="connsiteY5" fmla="*/ 3162300 h 3924300"/>
                <a:gd name="connsiteX6" fmla="*/ 0 w 3943350"/>
                <a:gd name="connsiteY6" fmla="*/ 0 h 3924300"/>
                <a:gd name="connsiteX0" fmla="*/ 0 w 3943350"/>
                <a:gd name="connsiteY0" fmla="*/ 0 h 3924300"/>
                <a:gd name="connsiteX1" fmla="*/ 914400 w 3943350"/>
                <a:gd name="connsiteY1" fmla="*/ 0 h 3924300"/>
                <a:gd name="connsiteX2" fmla="*/ 3943350 w 3943350"/>
                <a:gd name="connsiteY2" fmla="*/ 3086100 h 3924300"/>
                <a:gd name="connsiteX3" fmla="*/ 3257550 w 3943350"/>
                <a:gd name="connsiteY3" fmla="*/ 3924300 h 3924300"/>
                <a:gd name="connsiteX4" fmla="*/ 2438400 w 3943350"/>
                <a:gd name="connsiteY4" fmla="*/ 3905250 h 3924300"/>
                <a:gd name="connsiteX5" fmla="*/ 3004457 w 3943350"/>
                <a:gd name="connsiteY5" fmla="*/ 3133272 h 3924300"/>
                <a:gd name="connsiteX6" fmla="*/ 0 w 3943350"/>
                <a:gd name="connsiteY6" fmla="*/ 0 h 3924300"/>
                <a:gd name="connsiteX0" fmla="*/ 0 w 3943350"/>
                <a:gd name="connsiteY0" fmla="*/ 0 h 3924300"/>
                <a:gd name="connsiteX1" fmla="*/ 914400 w 3943350"/>
                <a:gd name="connsiteY1" fmla="*/ 0 h 3924300"/>
                <a:gd name="connsiteX2" fmla="*/ 3943350 w 3943350"/>
                <a:gd name="connsiteY2" fmla="*/ 3086100 h 3924300"/>
                <a:gd name="connsiteX3" fmla="*/ 3257550 w 3943350"/>
                <a:gd name="connsiteY3" fmla="*/ 3924300 h 3924300"/>
                <a:gd name="connsiteX4" fmla="*/ 2423886 w 3943350"/>
                <a:gd name="connsiteY4" fmla="*/ 3919764 h 3924300"/>
                <a:gd name="connsiteX5" fmla="*/ 3004457 w 3943350"/>
                <a:gd name="connsiteY5" fmla="*/ 3133272 h 3924300"/>
                <a:gd name="connsiteX6" fmla="*/ 0 w 3943350"/>
                <a:gd name="connsiteY6" fmla="*/ 0 h 3924300"/>
                <a:gd name="connsiteX0" fmla="*/ 0 w 3943350"/>
                <a:gd name="connsiteY0" fmla="*/ 0 h 3934279"/>
                <a:gd name="connsiteX1" fmla="*/ 914400 w 3943350"/>
                <a:gd name="connsiteY1" fmla="*/ 0 h 3934279"/>
                <a:gd name="connsiteX2" fmla="*/ 3943350 w 3943350"/>
                <a:gd name="connsiteY2" fmla="*/ 3086100 h 3934279"/>
                <a:gd name="connsiteX3" fmla="*/ 3257550 w 3943350"/>
                <a:gd name="connsiteY3" fmla="*/ 3924300 h 3934279"/>
                <a:gd name="connsiteX4" fmla="*/ 2394857 w 3943350"/>
                <a:gd name="connsiteY4" fmla="*/ 3934279 h 3934279"/>
                <a:gd name="connsiteX5" fmla="*/ 3004457 w 3943350"/>
                <a:gd name="connsiteY5" fmla="*/ 3133272 h 3934279"/>
                <a:gd name="connsiteX6" fmla="*/ 0 w 3943350"/>
                <a:gd name="connsiteY6" fmla="*/ 0 h 3934279"/>
                <a:gd name="connsiteX0" fmla="*/ 0 w 3943350"/>
                <a:gd name="connsiteY0" fmla="*/ 0 h 3934279"/>
                <a:gd name="connsiteX1" fmla="*/ 914400 w 3943350"/>
                <a:gd name="connsiteY1" fmla="*/ 0 h 3934279"/>
                <a:gd name="connsiteX2" fmla="*/ 3943350 w 3943350"/>
                <a:gd name="connsiteY2" fmla="*/ 3086100 h 3934279"/>
                <a:gd name="connsiteX3" fmla="*/ 3257550 w 3943350"/>
                <a:gd name="connsiteY3" fmla="*/ 3924300 h 3934279"/>
                <a:gd name="connsiteX4" fmla="*/ 2394857 w 3943350"/>
                <a:gd name="connsiteY4" fmla="*/ 3934279 h 3934279"/>
                <a:gd name="connsiteX5" fmla="*/ 2960914 w 3943350"/>
                <a:gd name="connsiteY5" fmla="*/ 3133272 h 3934279"/>
                <a:gd name="connsiteX6" fmla="*/ 0 w 3943350"/>
                <a:gd name="connsiteY6" fmla="*/ 0 h 3934279"/>
                <a:gd name="connsiteX0" fmla="*/ 0 w 3943350"/>
                <a:gd name="connsiteY0" fmla="*/ 0 h 3934279"/>
                <a:gd name="connsiteX1" fmla="*/ 914400 w 3943350"/>
                <a:gd name="connsiteY1" fmla="*/ 0 h 3934279"/>
                <a:gd name="connsiteX2" fmla="*/ 3943350 w 3943350"/>
                <a:gd name="connsiteY2" fmla="*/ 3086100 h 3934279"/>
                <a:gd name="connsiteX3" fmla="*/ 3257550 w 3943350"/>
                <a:gd name="connsiteY3" fmla="*/ 3924300 h 3934279"/>
                <a:gd name="connsiteX4" fmla="*/ 2394857 w 3943350"/>
                <a:gd name="connsiteY4" fmla="*/ 3934279 h 3934279"/>
                <a:gd name="connsiteX5" fmla="*/ 3004457 w 3943350"/>
                <a:gd name="connsiteY5" fmla="*/ 3104243 h 3934279"/>
                <a:gd name="connsiteX6" fmla="*/ 0 w 3943350"/>
                <a:gd name="connsiteY6" fmla="*/ 0 h 3934279"/>
                <a:gd name="connsiteX0" fmla="*/ 0 w 3943350"/>
                <a:gd name="connsiteY0" fmla="*/ 0 h 3934279"/>
                <a:gd name="connsiteX1" fmla="*/ 914400 w 3943350"/>
                <a:gd name="connsiteY1" fmla="*/ 0 h 3934279"/>
                <a:gd name="connsiteX2" fmla="*/ 3943350 w 3943350"/>
                <a:gd name="connsiteY2" fmla="*/ 3086100 h 3934279"/>
                <a:gd name="connsiteX3" fmla="*/ 3257550 w 3943350"/>
                <a:gd name="connsiteY3" fmla="*/ 3924300 h 3934279"/>
                <a:gd name="connsiteX4" fmla="*/ 2394857 w 3943350"/>
                <a:gd name="connsiteY4" fmla="*/ 3934279 h 3934279"/>
                <a:gd name="connsiteX5" fmla="*/ 3004457 w 3943350"/>
                <a:gd name="connsiteY5" fmla="*/ 3104243 h 3934279"/>
                <a:gd name="connsiteX6" fmla="*/ 0 w 3943350"/>
                <a:gd name="connsiteY6" fmla="*/ 0 h 3934279"/>
                <a:gd name="connsiteX0" fmla="*/ 0 w 3943350"/>
                <a:gd name="connsiteY0" fmla="*/ 2382 h 3936661"/>
                <a:gd name="connsiteX1" fmla="*/ 902494 w 3943350"/>
                <a:gd name="connsiteY1" fmla="*/ 0 h 3936661"/>
                <a:gd name="connsiteX2" fmla="*/ 3943350 w 3943350"/>
                <a:gd name="connsiteY2" fmla="*/ 3088482 h 3936661"/>
                <a:gd name="connsiteX3" fmla="*/ 3257550 w 3943350"/>
                <a:gd name="connsiteY3" fmla="*/ 3926682 h 3936661"/>
                <a:gd name="connsiteX4" fmla="*/ 2394857 w 3943350"/>
                <a:gd name="connsiteY4" fmla="*/ 3936661 h 3936661"/>
                <a:gd name="connsiteX5" fmla="*/ 3004457 w 3943350"/>
                <a:gd name="connsiteY5" fmla="*/ 3106625 h 3936661"/>
                <a:gd name="connsiteX6" fmla="*/ 0 w 3943350"/>
                <a:gd name="connsiteY6" fmla="*/ 2382 h 3936661"/>
                <a:gd name="connsiteX0" fmla="*/ 0 w 3943350"/>
                <a:gd name="connsiteY0" fmla="*/ 7145 h 3941424"/>
                <a:gd name="connsiteX1" fmla="*/ 904875 w 3943350"/>
                <a:gd name="connsiteY1" fmla="*/ 0 h 3941424"/>
                <a:gd name="connsiteX2" fmla="*/ 3943350 w 3943350"/>
                <a:gd name="connsiteY2" fmla="*/ 3093245 h 3941424"/>
                <a:gd name="connsiteX3" fmla="*/ 3257550 w 3943350"/>
                <a:gd name="connsiteY3" fmla="*/ 3931445 h 3941424"/>
                <a:gd name="connsiteX4" fmla="*/ 2394857 w 3943350"/>
                <a:gd name="connsiteY4" fmla="*/ 3941424 h 3941424"/>
                <a:gd name="connsiteX5" fmla="*/ 3004457 w 3943350"/>
                <a:gd name="connsiteY5" fmla="*/ 3111388 h 3941424"/>
                <a:gd name="connsiteX6" fmla="*/ 0 w 3943350"/>
                <a:gd name="connsiteY6" fmla="*/ 7145 h 3941424"/>
                <a:gd name="connsiteX0" fmla="*/ 0 w 3943350"/>
                <a:gd name="connsiteY0" fmla="*/ 7145 h 3941424"/>
                <a:gd name="connsiteX1" fmla="*/ 904875 w 3943350"/>
                <a:gd name="connsiteY1" fmla="*/ 0 h 3941424"/>
                <a:gd name="connsiteX2" fmla="*/ 3943350 w 3943350"/>
                <a:gd name="connsiteY2" fmla="*/ 3093245 h 3941424"/>
                <a:gd name="connsiteX3" fmla="*/ 3257550 w 3943350"/>
                <a:gd name="connsiteY3" fmla="*/ 3931445 h 3941424"/>
                <a:gd name="connsiteX4" fmla="*/ 2394857 w 3943350"/>
                <a:gd name="connsiteY4" fmla="*/ 3941424 h 3941424"/>
                <a:gd name="connsiteX5" fmla="*/ 3004457 w 3943350"/>
                <a:gd name="connsiteY5" fmla="*/ 3111388 h 3941424"/>
                <a:gd name="connsiteX6" fmla="*/ 0 w 3943350"/>
                <a:gd name="connsiteY6" fmla="*/ 7145 h 3941424"/>
                <a:gd name="connsiteX0" fmla="*/ 0 w 3943350"/>
                <a:gd name="connsiteY0" fmla="*/ 4763 h 3939042"/>
                <a:gd name="connsiteX1" fmla="*/ 907257 w 3943350"/>
                <a:gd name="connsiteY1" fmla="*/ 0 h 3939042"/>
                <a:gd name="connsiteX2" fmla="*/ 3943350 w 3943350"/>
                <a:gd name="connsiteY2" fmla="*/ 3090863 h 3939042"/>
                <a:gd name="connsiteX3" fmla="*/ 3257550 w 3943350"/>
                <a:gd name="connsiteY3" fmla="*/ 3929063 h 3939042"/>
                <a:gd name="connsiteX4" fmla="*/ 2394857 w 3943350"/>
                <a:gd name="connsiteY4" fmla="*/ 3939042 h 3939042"/>
                <a:gd name="connsiteX5" fmla="*/ 3004457 w 3943350"/>
                <a:gd name="connsiteY5" fmla="*/ 3109006 h 3939042"/>
                <a:gd name="connsiteX6" fmla="*/ 0 w 3943350"/>
                <a:gd name="connsiteY6" fmla="*/ 4763 h 3939042"/>
                <a:gd name="connsiteX0" fmla="*/ 0 w 3943350"/>
                <a:gd name="connsiteY0" fmla="*/ 4763 h 3939042"/>
                <a:gd name="connsiteX1" fmla="*/ 912019 w 3943350"/>
                <a:gd name="connsiteY1" fmla="*/ 0 h 3939042"/>
                <a:gd name="connsiteX2" fmla="*/ 3943350 w 3943350"/>
                <a:gd name="connsiteY2" fmla="*/ 3090863 h 3939042"/>
                <a:gd name="connsiteX3" fmla="*/ 3257550 w 3943350"/>
                <a:gd name="connsiteY3" fmla="*/ 3929063 h 3939042"/>
                <a:gd name="connsiteX4" fmla="*/ 2394857 w 3943350"/>
                <a:gd name="connsiteY4" fmla="*/ 3939042 h 3939042"/>
                <a:gd name="connsiteX5" fmla="*/ 3004457 w 3943350"/>
                <a:gd name="connsiteY5" fmla="*/ 3109006 h 3939042"/>
                <a:gd name="connsiteX6" fmla="*/ 0 w 3943350"/>
                <a:gd name="connsiteY6" fmla="*/ 4763 h 3939042"/>
                <a:gd name="connsiteX0" fmla="*/ 0 w 3943350"/>
                <a:gd name="connsiteY0" fmla="*/ 4763 h 3939042"/>
                <a:gd name="connsiteX1" fmla="*/ 912019 w 3943350"/>
                <a:gd name="connsiteY1" fmla="*/ 0 h 3939042"/>
                <a:gd name="connsiteX2" fmla="*/ 3943350 w 3943350"/>
                <a:gd name="connsiteY2" fmla="*/ 3090863 h 3939042"/>
                <a:gd name="connsiteX3" fmla="*/ 3257550 w 3943350"/>
                <a:gd name="connsiteY3" fmla="*/ 3929063 h 3939042"/>
                <a:gd name="connsiteX4" fmla="*/ 2394857 w 3943350"/>
                <a:gd name="connsiteY4" fmla="*/ 3939042 h 3939042"/>
                <a:gd name="connsiteX5" fmla="*/ 3004457 w 3943350"/>
                <a:gd name="connsiteY5" fmla="*/ 3109006 h 3939042"/>
                <a:gd name="connsiteX6" fmla="*/ 0 w 3943350"/>
                <a:gd name="connsiteY6" fmla="*/ 4763 h 3939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43350" h="3939042">
                  <a:moveTo>
                    <a:pt x="0" y="4763"/>
                  </a:moveTo>
                  <a:lnTo>
                    <a:pt x="912019" y="0"/>
                  </a:lnTo>
                  <a:lnTo>
                    <a:pt x="3943350" y="3090863"/>
                  </a:lnTo>
                  <a:lnTo>
                    <a:pt x="3257550" y="3929063"/>
                  </a:lnTo>
                  <a:lnTo>
                    <a:pt x="2394857" y="3939042"/>
                  </a:lnTo>
                  <a:lnTo>
                    <a:pt x="3004457" y="3109006"/>
                  </a:lnTo>
                  <a:lnTo>
                    <a:pt x="0" y="4763"/>
                  </a:lnTo>
                  <a:close/>
                </a:path>
              </a:pathLst>
            </a:custGeom>
            <a:solidFill>
              <a:srgbClr val="004D8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5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13" dirty="0">
                <a:solidFill>
                  <a:prstClr val="white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66722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598BAAB-E96D-4C37-ADF1-F6ECF2D9AF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9"/>
            <a:ext cx="7886700" cy="577081"/>
          </a:xfrm>
        </p:spPr>
        <p:txBody>
          <a:bodyPr/>
          <a:lstStyle/>
          <a:p>
            <a:r>
              <a:rPr lang="en-US" dirty="0"/>
              <a:t>Status Reports</a:t>
            </a:r>
            <a:br>
              <a:rPr lang="en-US" dirty="0"/>
            </a:b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C35F1AB-1E06-460C-927B-1908368FD514}"/>
              </a:ext>
            </a:extLst>
          </p:cNvPr>
          <p:cNvGrpSpPr/>
          <p:nvPr/>
        </p:nvGrpSpPr>
        <p:grpSpPr>
          <a:xfrm>
            <a:off x="25470" y="1454817"/>
            <a:ext cx="6354111" cy="292542"/>
            <a:chOff x="2289543" y="2082159"/>
            <a:chExt cx="7612920" cy="386191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BFEEF7E7-8FCB-4A9A-97C3-BC29799D34F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900607" y="2082159"/>
              <a:ext cx="1856" cy="386191"/>
            </a:xfrm>
            <a:prstGeom prst="line">
              <a:avLst/>
            </a:prstGeom>
            <a:noFill/>
            <a:ln w="25400" cap="flat" cmpd="sng" algn="ctr">
              <a:solidFill>
                <a:srgbClr val="A6A6A6"/>
              </a:solidFill>
              <a:prstDash val="solid"/>
              <a:miter lim="800000"/>
            </a:ln>
            <a:effectLst/>
          </p:spPr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FA5D3424-59D3-4864-A314-B410E936CE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289543" y="2082159"/>
              <a:ext cx="1856" cy="386191"/>
            </a:xfrm>
            <a:prstGeom prst="line">
              <a:avLst/>
            </a:prstGeom>
            <a:noFill/>
            <a:ln w="25400" cap="flat" cmpd="sng" algn="ctr">
              <a:solidFill>
                <a:srgbClr val="A6A6A6"/>
              </a:solidFill>
              <a:prstDash val="solid"/>
              <a:miter lim="800000"/>
            </a:ln>
            <a:effectLst/>
          </p:spPr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D5DA3DC9-CD54-49CD-8A2F-CE54CF396AC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826564" y="2082159"/>
              <a:ext cx="1856" cy="386191"/>
            </a:xfrm>
            <a:prstGeom prst="line">
              <a:avLst/>
            </a:prstGeom>
            <a:noFill/>
            <a:ln w="25400" cap="flat" cmpd="sng" algn="ctr">
              <a:solidFill>
                <a:srgbClr val="A6A6A6"/>
              </a:solidFill>
              <a:prstDash val="solid"/>
              <a:miter lim="800000"/>
            </a:ln>
            <a:effectLst/>
          </p:spPr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9D116A43-115D-430F-9883-9979BC8DA8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63585" y="2082159"/>
              <a:ext cx="1856" cy="386191"/>
            </a:xfrm>
            <a:prstGeom prst="line">
              <a:avLst/>
            </a:prstGeom>
            <a:noFill/>
            <a:ln w="25400" cap="flat" cmpd="sng" algn="ctr">
              <a:solidFill>
                <a:srgbClr val="A6A6A6"/>
              </a:solidFill>
              <a:prstDash val="solid"/>
              <a:miter lim="800000"/>
            </a:ln>
            <a:effectLst/>
          </p:spPr>
        </p:cxn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63E753-1C23-4239-B076-922511CB9E6F}"/>
              </a:ext>
            </a:extLst>
          </p:cNvPr>
          <p:cNvCxnSpPr>
            <a:cxnSpLocks/>
          </p:cNvCxnSpPr>
          <p:nvPr/>
        </p:nvCxnSpPr>
        <p:spPr>
          <a:xfrm>
            <a:off x="765313" y="1119664"/>
            <a:ext cx="7017026" cy="0"/>
          </a:xfrm>
          <a:prstGeom prst="line">
            <a:avLst/>
          </a:prstGeom>
          <a:noFill/>
          <a:ln w="50800" cap="flat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8DCDDE0-843D-4968-9395-FA157DA4E970}"/>
              </a:ext>
            </a:extLst>
          </p:cNvPr>
          <p:cNvGrpSpPr/>
          <p:nvPr/>
        </p:nvGrpSpPr>
        <p:grpSpPr>
          <a:xfrm>
            <a:off x="1760738" y="759913"/>
            <a:ext cx="766053" cy="765853"/>
            <a:chOff x="4368585" y="1420820"/>
            <a:chExt cx="917815" cy="917815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00A7462-073C-4483-B151-FBDEB9A4396E}"/>
                </a:ext>
              </a:extLst>
            </p:cNvPr>
            <p:cNvSpPr/>
            <p:nvPr/>
          </p:nvSpPr>
          <p:spPr>
            <a:xfrm flipV="1">
              <a:off x="4368585" y="1420820"/>
              <a:ext cx="917815" cy="917815"/>
            </a:xfrm>
            <a:prstGeom prst="ellipse">
              <a:avLst/>
            </a:prstGeom>
            <a:solidFill>
              <a:srgbClr val="464C5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91">
                <a:defRPr/>
              </a:pPr>
              <a:endParaRPr lang="en-IN" sz="1200" kern="0" dirty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C63A44DF-D153-41E5-88D9-A7EE10AC1A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11336" y="1608950"/>
              <a:ext cx="432312" cy="541554"/>
            </a:xfrm>
            <a:custGeom>
              <a:avLst/>
              <a:gdLst>
                <a:gd name="T0" fmla="*/ 2189 w 2599"/>
                <a:gd name="T1" fmla="*/ 1127 h 3267"/>
                <a:gd name="T2" fmla="*/ 2078 w 2599"/>
                <a:gd name="T3" fmla="*/ 1293 h 3267"/>
                <a:gd name="T4" fmla="*/ 1911 w 2599"/>
                <a:gd name="T5" fmla="*/ 1183 h 3267"/>
                <a:gd name="T6" fmla="*/ 2021 w 2599"/>
                <a:gd name="T7" fmla="*/ 1018 h 3267"/>
                <a:gd name="T8" fmla="*/ 1770 w 2599"/>
                <a:gd name="T9" fmla="*/ 1004 h 3267"/>
                <a:gd name="T10" fmla="*/ 1721 w 2599"/>
                <a:gd name="T11" fmla="*/ 1355 h 3267"/>
                <a:gd name="T12" fmla="*/ 2172 w 2599"/>
                <a:gd name="T13" fmla="*/ 1448 h 3267"/>
                <a:gd name="T14" fmla="*/ 2426 w 2599"/>
                <a:gd name="T15" fmla="*/ 1066 h 3267"/>
                <a:gd name="T16" fmla="*/ 2139 w 2599"/>
                <a:gd name="T17" fmla="*/ 851 h 3267"/>
                <a:gd name="T18" fmla="*/ 1163 w 2599"/>
                <a:gd name="T19" fmla="*/ 817 h 3267"/>
                <a:gd name="T20" fmla="*/ 1205 w 2599"/>
                <a:gd name="T21" fmla="*/ 1088 h 3267"/>
                <a:gd name="T22" fmla="*/ 958 w 2599"/>
                <a:gd name="T23" fmla="*/ 1211 h 3267"/>
                <a:gd name="T24" fmla="*/ 765 w 2599"/>
                <a:gd name="T25" fmla="*/ 1019 h 3267"/>
                <a:gd name="T26" fmla="*/ 889 w 2599"/>
                <a:gd name="T27" fmla="*/ 774 h 3267"/>
                <a:gd name="T28" fmla="*/ 749 w 2599"/>
                <a:gd name="T29" fmla="*/ 547 h 3267"/>
                <a:gd name="T30" fmla="*/ 397 w 2599"/>
                <a:gd name="T31" fmla="*/ 1114 h 3267"/>
                <a:gd name="T32" fmla="*/ 785 w 2599"/>
                <a:gd name="T33" fmla="*/ 1435 h 3267"/>
                <a:gd name="T34" fmla="*/ 1245 w 2599"/>
                <a:gd name="T35" fmla="*/ 1416 h 3267"/>
                <a:gd name="T36" fmla="*/ 1596 w 2599"/>
                <a:gd name="T37" fmla="*/ 848 h 3267"/>
                <a:gd name="T38" fmla="*/ 1208 w 2599"/>
                <a:gd name="T39" fmla="*/ 528 h 3267"/>
                <a:gd name="T40" fmla="*/ 1506 w 2599"/>
                <a:gd name="T41" fmla="*/ 13 h 3267"/>
                <a:gd name="T42" fmla="*/ 1976 w 2599"/>
                <a:gd name="T43" fmla="*/ 147 h 3267"/>
                <a:gd name="T44" fmla="*/ 2260 w 2599"/>
                <a:gd name="T45" fmla="*/ 367 h 3267"/>
                <a:gd name="T46" fmla="*/ 2544 w 2599"/>
                <a:gd name="T47" fmla="*/ 811 h 3267"/>
                <a:gd name="T48" fmla="*/ 2598 w 2599"/>
                <a:gd name="T49" fmla="*/ 1131 h 3267"/>
                <a:gd name="T50" fmla="*/ 2574 w 2599"/>
                <a:gd name="T51" fmla="*/ 1290 h 3267"/>
                <a:gd name="T52" fmla="*/ 2440 w 2599"/>
                <a:gd name="T53" fmla="*/ 1574 h 3267"/>
                <a:gd name="T54" fmla="*/ 2299 w 2599"/>
                <a:gd name="T55" fmla="*/ 1786 h 3267"/>
                <a:gd name="T56" fmla="*/ 2160 w 2599"/>
                <a:gd name="T57" fmla="*/ 2039 h 3267"/>
                <a:gd name="T58" fmla="*/ 2128 w 2599"/>
                <a:gd name="T59" fmla="*/ 2356 h 3267"/>
                <a:gd name="T60" fmla="*/ 2049 w 2599"/>
                <a:gd name="T61" fmla="*/ 2470 h 3267"/>
                <a:gd name="T62" fmla="*/ 1681 w 2599"/>
                <a:gd name="T63" fmla="*/ 2716 h 3267"/>
                <a:gd name="T64" fmla="*/ 1406 w 2599"/>
                <a:gd name="T65" fmla="*/ 3029 h 3267"/>
                <a:gd name="T66" fmla="*/ 1260 w 2599"/>
                <a:gd name="T67" fmla="*/ 3245 h 3267"/>
                <a:gd name="T68" fmla="*/ 1209 w 2599"/>
                <a:gd name="T69" fmla="*/ 3158 h 3267"/>
                <a:gd name="T70" fmla="*/ 1089 w 2599"/>
                <a:gd name="T71" fmla="*/ 2902 h 3267"/>
                <a:gd name="T72" fmla="*/ 997 w 2599"/>
                <a:gd name="T73" fmla="*/ 2723 h 3267"/>
                <a:gd name="T74" fmla="*/ 825 w 2599"/>
                <a:gd name="T75" fmla="*/ 2629 h 3267"/>
                <a:gd name="T76" fmla="*/ 586 w 2599"/>
                <a:gd name="T77" fmla="*/ 2647 h 3267"/>
                <a:gd name="T78" fmla="*/ 351 w 2599"/>
                <a:gd name="T79" fmla="*/ 2623 h 3267"/>
                <a:gd name="T80" fmla="*/ 290 w 2599"/>
                <a:gd name="T81" fmla="*/ 2574 h 3267"/>
                <a:gd name="T82" fmla="*/ 281 w 2599"/>
                <a:gd name="T83" fmla="*/ 2432 h 3267"/>
                <a:gd name="T84" fmla="*/ 271 w 2599"/>
                <a:gd name="T85" fmla="*/ 2316 h 3267"/>
                <a:gd name="T86" fmla="*/ 214 w 2599"/>
                <a:gd name="T87" fmla="*/ 2197 h 3267"/>
                <a:gd name="T88" fmla="*/ 233 w 2599"/>
                <a:gd name="T89" fmla="*/ 2142 h 3267"/>
                <a:gd name="T90" fmla="*/ 168 w 2599"/>
                <a:gd name="T91" fmla="*/ 2091 h 3267"/>
                <a:gd name="T92" fmla="*/ 160 w 2599"/>
                <a:gd name="T93" fmla="*/ 1903 h 3267"/>
                <a:gd name="T94" fmla="*/ 83 w 2599"/>
                <a:gd name="T95" fmla="*/ 1876 h 3267"/>
                <a:gd name="T96" fmla="*/ 1 w 2599"/>
                <a:gd name="T97" fmla="*/ 1801 h 3267"/>
                <a:gd name="T98" fmla="*/ 26 w 2599"/>
                <a:gd name="T99" fmla="*/ 1707 h 3267"/>
                <a:gd name="T100" fmla="*/ 125 w 2599"/>
                <a:gd name="T101" fmla="*/ 1511 h 3267"/>
                <a:gd name="T102" fmla="*/ 189 w 2599"/>
                <a:gd name="T103" fmla="*/ 1375 h 3267"/>
                <a:gd name="T104" fmla="*/ 150 w 2599"/>
                <a:gd name="T105" fmla="*/ 1185 h 3267"/>
                <a:gd name="T106" fmla="*/ 128 w 2599"/>
                <a:gd name="T107" fmla="*/ 849 h 3267"/>
                <a:gd name="T108" fmla="*/ 287 w 2599"/>
                <a:gd name="T109" fmla="*/ 459 h 3267"/>
                <a:gd name="T110" fmla="*/ 662 w 2599"/>
                <a:gd name="T111" fmla="*/ 135 h 3267"/>
                <a:gd name="T112" fmla="*/ 1113 w 2599"/>
                <a:gd name="T113" fmla="*/ 6 h 3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99" h="3267">
                  <a:moveTo>
                    <a:pt x="2050" y="1015"/>
                  </a:moveTo>
                  <a:lnTo>
                    <a:pt x="2078" y="1018"/>
                  </a:lnTo>
                  <a:lnTo>
                    <a:pt x="2105" y="1026"/>
                  </a:lnTo>
                  <a:lnTo>
                    <a:pt x="2129" y="1039"/>
                  </a:lnTo>
                  <a:lnTo>
                    <a:pt x="2150" y="1056"/>
                  </a:lnTo>
                  <a:lnTo>
                    <a:pt x="2168" y="1077"/>
                  </a:lnTo>
                  <a:lnTo>
                    <a:pt x="2180" y="1101"/>
                  </a:lnTo>
                  <a:lnTo>
                    <a:pt x="2189" y="1127"/>
                  </a:lnTo>
                  <a:lnTo>
                    <a:pt x="2192" y="1155"/>
                  </a:lnTo>
                  <a:lnTo>
                    <a:pt x="2189" y="1183"/>
                  </a:lnTo>
                  <a:lnTo>
                    <a:pt x="2180" y="1210"/>
                  </a:lnTo>
                  <a:lnTo>
                    <a:pt x="2168" y="1234"/>
                  </a:lnTo>
                  <a:lnTo>
                    <a:pt x="2150" y="1254"/>
                  </a:lnTo>
                  <a:lnTo>
                    <a:pt x="2129" y="1272"/>
                  </a:lnTo>
                  <a:lnTo>
                    <a:pt x="2105" y="1284"/>
                  </a:lnTo>
                  <a:lnTo>
                    <a:pt x="2078" y="1293"/>
                  </a:lnTo>
                  <a:lnTo>
                    <a:pt x="2050" y="1296"/>
                  </a:lnTo>
                  <a:lnTo>
                    <a:pt x="2021" y="1293"/>
                  </a:lnTo>
                  <a:lnTo>
                    <a:pt x="1994" y="1284"/>
                  </a:lnTo>
                  <a:lnTo>
                    <a:pt x="1971" y="1272"/>
                  </a:lnTo>
                  <a:lnTo>
                    <a:pt x="1950" y="1254"/>
                  </a:lnTo>
                  <a:lnTo>
                    <a:pt x="1932" y="1234"/>
                  </a:lnTo>
                  <a:lnTo>
                    <a:pt x="1919" y="1210"/>
                  </a:lnTo>
                  <a:lnTo>
                    <a:pt x="1911" y="1183"/>
                  </a:lnTo>
                  <a:lnTo>
                    <a:pt x="1908" y="1155"/>
                  </a:lnTo>
                  <a:lnTo>
                    <a:pt x="1911" y="1127"/>
                  </a:lnTo>
                  <a:lnTo>
                    <a:pt x="1919" y="1101"/>
                  </a:lnTo>
                  <a:lnTo>
                    <a:pt x="1932" y="1077"/>
                  </a:lnTo>
                  <a:lnTo>
                    <a:pt x="1950" y="1056"/>
                  </a:lnTo>
                  <a:lnTo>
                    <a:pt x="1971" y="1039"/>
                  </a:lnTo>
                  <a:lnTo>
                    <a:pt x="1994" y="1026"/>
                  </a:lnTo>
                  <a:lnTo>
                    <a:pt x="2021" y="1018"/>
                  </a:lnTo>
                  <a:lnTo>
                    <a:pt x="2050" y="1015"/>
                  </a:lnTo>
                  <a:close/>
                  <a:moveTo>
                    <a:pt x="1960" y="783"/>
                  </a:moveTo>
                  <a:lnTo>
                    <a:pt x="1960" y="851"/>
                  </a:lnTo>
                  <a:lnTo>
                    <a:pt x="1928" y="863"/>
                  </a:lnTo>
                  <a:lnTo>
                    <a:pt x="1896" y="877"/>
                  </a:lnTo>
                  <a:lnTo>
                    <a:pt x="1848" y="829"/>
                  </a:lnTo>
                  <a:lnTo>
                    <a:pt x="1721" y="956"/>
                  </a:lnTo>
                  <a:lnTo>
                    <a:pt x="1770" y="1004"/>
                  </a:lnTo>
                  <a:lnTo>
                    <a:pt x="1754" y="1034"/>
                  </a:lnTo>
                  <a:lnTo>
                    <a:pt x="1742" y="1066"/>
                  </a:lnTo>
                  <a:lnTo>
                    <a:pt x="1674" y="1066"/>
                  </a:lnTo>
                  <a:lnTo>
                    <a:pt x="1674" y="1244"/>
                  </a:lnTo>
                  <a:lnTo>
                    <a:pt x="1742" y="1244"/>
                  </a:lnTo>
                  <a:lnTo>
                    <a:pt x="1754" y="1277"/>
                  </a:lnTo>
                  <a:lnTo>
                    <a:pt x="1770" y="1307"/>
                  </a:lnTo>
                  <a:lnTo>
                    <a:pt x="1721" y="1355"/>
                  </a:lnTo>
                  <a:lnTo>
                    <a:pt x="1848" y="1481"/>
                  </a:lnTo>
                  <a:lnTo>
                    <a:pt x="1896" y="1433"/>
                  </a:lnTo>
                  <a:lnTo>
                    <a:pt x="1928" y="1448"/>
                  </a:lnTo>
                  <a:lnTo>
                    <a:pt x="1960" y="1460"/>
                  </a:lnTo>
                  <a:lnTo>
                    <a:pt x="1960" y="1528"/>
                  </a:lnTo>
                  <a:lnTo>
                    <a:pt x="2139" y="1528"/>
                  </a:lnTo>
                  <a:lnTo>
                    <a:pt x="2139" y="1460"/>
                  </a:lnTo>
                  <a:lnTo>
                    <a:pt x="2172" y="1448"/>
                  </a:lnTo>
                  <a:lnTo>
                    <a:pt x="2202" y="1433"/>
                  </a:lnTo>
                  <a:lnTo>
                    <a:pt x="2252" y="1481"/>
                  </a:lnTo>
                  <a:lnTo>
                    <a:pt x="2378" y="1355"/>
                  </a:lnTo>
                  <a:lnTo>
                    <a:pt x="2330" y="1307"/>
                  </a:lnTo>
                  <a:lnTo>
                    <a:pt x="2344" y="1277"/>
                  </a:lnTo>
                  <a:lnTo>
                    <a:pt x="2356" y="1244"/>
                  </a:lnTo>
                  <a:lnTo>
                    <a:pt x="2426" y="1244"/>
                  </a:lnTo>
                  <a:lnTo>
                    <a:pt x="2426" y="1066"/>
                  </a:lnTo>
                  <a:lnTo>
                    <a:pt x="2356" y="1066"/>
                  </a:lnTo>
                  <a:lnTo>
                    <a:pt x="2344" y="1034"/>
                  </a:lnTo>
                  <a:lnTo>
                    <a:pt x="2330" y="1004"/>
                  </a:lnTo>
                  <a:lnTo>
                    <a:pt x="2378" y="956"/>
                  </a:lnTo>
                  <a:lnTo>
                    <a:pt x="2252" y="829"/>
                  </a:lnTo>
                  <a:lnTo>
                    <a:pt x="2202" y="877"/>
                  </a:lnTo>
                  <a:lnTo>
                    <a:pt x="2172" y="863"/>
                  </a:lnTo>
                  <a:lnTo>
                    <a:pt x="2139" y="851"/>
                  </a:lnTo>
                  <a:lnTo>
                    <a:pt x="2139" y="783"/>
                  </a:lnTo>
                  <a:lnTo>
                    <a:pt x="1960" y="783"/>
                  </a:lnTo>
                  <a:close/>
                  <a:moveTo>
                    <a:pt x="996" y="748"/>
                  </a:moveTo>
                  <a:lnTo>
                    <a:pt x="1034" y="751"/>
                  </a:lnTo>
                  <a:lnTo>
                    <a:pt x="1071" y="761"/>
                  </a:lnTo>
                  <a:lnTo>
                    <a:pt x="1105" y="774"/>
                  </a:lnTo>
                  <a:lnTo>
                    <a:pt x="1135" y="793"/>
                  </a:lnTo>
                  <a:lnTo>
                    <a:pt x="1163" y="817"/>
                  </a:lnTo>
                  <a:lnTo>
                    <a:pt x="1186" y="844"/>
                  </a:lnTo>
                  <a:lnTo>
                    <a:pt x="1205" y="874"/>
                  </a:lnTo>
                  <a:lnTo>
                    <a:pt x="1219" y="908"/>
                  </a:lnTo>
                  <a:lnTo>
                    <a:pt x="1228" y="943"/>
                  </a:lnTo>
                  <a:lnTo>
                    <a:pt x="1231" y="981"/>
                  </a:lnTo>
                  <a:lnTo>
                    <a:pt x="1228" y="1019"/>
                  </a:lnTo>
                  <a:lnTo>
                    <a:pt x="1219" y="1055"/>
                  </a:lnTo>
                  <a:lnTo>
                    <a:pt x="1205" y="1088"/>
                  </a:lnTo>
                  <a:lnTo>
                    <a:pt x="1186" y="1118"/>
                  </a:lnTo>
                  <a:lnTo>
                    <a:pt x="1163" y="1146"/>
                  </a:lnTo>
                  <a:lnTo>
                    <a:pt x="1135" y="1170"/>
                  </a:lnTo>
                  <a:lnTo>
                    <a:pt x="1105" y="1188"/>
                  </a:lnTo>
                  <a:lnTo>
                    <a:pt x="1071" y="1202"/>
                  </a:lnTo>
                  <a:lnTo>
                    <a:pt x="1034" y="1211"/>
                  </a:lnTo>
                  <a:lnTo>
                    <a:pt x="996" y="1214"/>
                  </a:lnTo>
                  <a:lnTo>
                    <a:pt x="958" y="1211"/>
                  </a:lnTo>
                  <a:lnTo>
                    <a:pt x="923" y="1202"/>
                  </a:lnTo>
                  <a:lnTo>
                    <a:pt x="889" y="1188"/>
                  </a:lnTo>
                  <a:lnTo>
                    <a:pt x="857" y="1170"/>
                  </a:lnTo>
                  <a:lnTo>
                    <a:pt x="830" y="1146"/>
                  </a:lnTo>
                  <a:lnTo>
                    <a:pt x="807" y="1118"/>
                  </a:lnTo>
                  <a:lnTo>
                    <a:pt x="788" y="1088"/>
                  </a:lnTo>
                  <a:lnTo>
                    <a:pt x="773" y="1055"/>
                  </a:lnTo>
                  <a:lnTo>
                    <a:pt x="765" y="1019"/>
                  </a:lnTo>
                  <a:lnTo>
                    <a:pt x="762" y="981"/>
                  </a:lnTo>
                  <a:lnTo>
                    <a:pt x="765" y="943"/>
                  </a:lnTo>
                  <a:lnTo>
                    <a:pt x="773" y="908"/>
                  </a:lnTo>
                  <a:lnTo>
                    <a:pt x="788" y="874"/>
                  </a:lnTo>
                  <a:lnTo>
                    <a:pt x="807" y="844"/>
                  </a:lnTo>
                  <a:lnTo>
                    <a:pt x="830" y="817"/>
                  </a:lnTo>
                  <a:lnTo>
                    <a:pt x="857" y="793"/>
                  </a:lnTo>
                  <a:lnTo>
                    <a:pt x="889" y="774"/>
                  </a:lnTo>
                  <a:lnTo>
                    <a:pt x="923" y="761"/>
                  </a:lnTo>
                  <a:lnTo>
                    <a:pt x="958" y="751"/>
                  </a:lnTo>
                  <a:lnTo>
                    <a:pt x="996" y="748"/>
                  </a:lnTo>
                  <a:close/>
                  <a:moveTo>
                    <a:pt x="862" y="387"/>
                  </a:moveTo>
                  <a:lnTo>
                    <a:pt x="862" y="501"/>
                  </a:lnTo>
                  <a:lnTo>
                    <a:pt x="823" y="513"/>
                  </a:lnTo>
                  <a:lnTo>
                    <a:pt x="785" y="528"/>
                  </a:lnTo>
                  <a:lnTo>
                    <a:pt x="749" y="547"/>
                  </a:lnTo>
                  <a:lnTo>
                    <a:pt x="668" y="466"/>
                  </a:lnTo>
                  <a:lnTo>
                    <a:pt x="477" y="655"/>
                  </a:lnTo>
                  <a:lnTo>
                    <a:pt x="558" y="735"/>
                  </a:lnTo>
                  <a:lnTo>
                    <a:pt x="539" y="771"/>
                  </a:lnTo>
                  <a:lnTo>
                    <a:pt x="525" y="809"/>
                  </a:lnTo>
                  <a:lnTo>
                    <a:pt x="511" y="848"/>
                  </a:lnTo>
                  <a:lnTo>
                    <a:pt x="397" y="848"/>
                  </a:lnTo>
                  <a:lnTo>
                    <a:pt x="397" y="1114"/>
                  </a:lnTo>
                  <a:lnTo>
                    <a:pt x="511" y="1114"/>
                  </a:lnTo>
                  <a:lnTo>
                    <a:pt x="525" y="1154"/>
                  </a:lnTo>
                  <a:lnTo>
                    <a:pt x="539" y="1192"/>
                  </a:lnTo>
                  <a:lnTo>
                    <a:pt x="558" y="1227"/>
                  </a:lnTo>
                  <a:lnTo>
                    <a:pt x="477" y="1307"/>
                  </a:lnTo>
                  <a:lnTo>
                    <a:pt x="668" y="1496"/>
                  </a:lnTo>
                  <a:lnTo>
                    <a:pt x="749" y="1416"/>
                  </a:lnTo>
                  <a:lnTo>
                    <a:pt x="785" y="1435"/>
                  </a:lnTo>
                  <a:lnTo>
                    <a:pt x="823" y="1449"/>
                  </a:lnTo>
                  <a:lnTo>
                    <a:pt x="862" y="1463"/>
                  </a:lnTo>
                  <a:lnTo>
                    <a:pt x="862" y="1576"/>
                  </a:lnTo>
                  <a:lnTo>
                    <a:pt x="1131" y="1576"/>
                  </a:lnTo>
                  <a:lnTo>
                    <a:pt x="1131" y="1463"/>
                  </a:lnTo>
                  <a:lnTo>
                    <a:pt x="1170" y="1449"/>
                  </a:lnTo>
                  <a:lnTo>
                    <a:pt x="1208" y="1434"/>
                  </a:lnTo>
                  <a:lnTo>
                    <a:pt x="1245" y="1416"/>
                  </a:lnTo>
                  <a:lnTo>
                    <a:pt x="1326" y="1496"/>
                  </a:lnTo>
                  <a:lnTo>
                    <a:pt x="1515" y="1307"/>
                  </a:lnTo>
                  <a:lnTo>
                    <a:pt x="1435" y="1227"/>
                  </a:lnTo>
                  <a:lnTo>
                    <a:pt x="1453" y="1192"/>
                  </a:lnTo>
                  <a:lnTo>
                    <a:pt x="1469" y="1154"/>
                  </a:lnTo>
                  <a:lnTo>
                    <a:pt x="1481" y="1114"/>
                  </a:lnTo>
                  <a:lnTo>
                    <a:pt x="1596" y="1114"/>
                  </a:lnTo>
                  <a:lnTo>
                    <a:pt x="1596" y="848"/>
                  </a:lnTo>
                  <a:lnTo>
                    <a:pt x="1481" y="848"/>
                  </a:lnTo>
                  <a:lnTo>
                    <a:pt x="1469" y="809"/>
                  </a:lnTo>
                  <a:lnTo>
                    <a:pt x="1453" y="771"/>
                  </a:lnTo>
                  <a:lnTo>
                    <a:pt x="1435" y="735"/>
                  </a:lnTo>
                  <a:lnTo>
                    <a:pt x="1515" y="655"/>
                  </a:lnTo>
                  <a:lnTo>
                    <a:pt x="1326" y="466"/>
                  </a:lnTo>
                  <a:lnTo>
                    <a:pt x="1245" y="547"/>
                  </a:lnTo>
                  <a:lnTo>
                    <a:pt x="1208" y="528"/>
                  </a:lnTo>
                  <a:lnTo>
                    <a:pt x="1170" y="513"/>
                  </a:lnTo>
                  <a:lnTo>
                    <a:pt x="1131" y="501"/>
                  </a:lnTo>
                  <a:lnTo>
                    <a:pt x="1131" y="387"/>
                  </a:lnTo>
                  <a:lnTo>
                    <a:pt x="862" y="387"/>
                  </a:lnTo>
                  <a:close/>
                  <a:moveTo>
                    <a:pt x="1257" y="0"/>
                  </a:moveTo>
                  <a:lnTo>
                    <a:pt x="1345" y="2"/>
                  </a:lnTo>
                  <a:lnTo>
                    <a:pt x="1428" y="6"/>
                  </a:lnTo>
                  <a:lnTo>
                    <a:pt x="1506" y="13"/>
                  </a:lnTo>
                  <a:lnTo>
                    <a:pt x="1578" y="23"/>
                  </a:lnTo>
                  <a:lnTo>
                    <a:pt x="1647" y="35"/>
                  </a:lnTo>
                  <a:lnTo>
                    <a:pt x="1711" y="49"/>
                  </a:lnTo>
                  <a:lnTo>
                    <a:pt x="1771" y="64"/>
                  </a:lnTo>
                  <a:lnTo>
                    <a:pt x="1828" y="83"/>
                  </a:lnTo>
                  <a:lnTo>
                    <a:pt x="1880" y="102"/>
                  </a:lnTo>
                  <a:lnTo>
                    <a:pt x="1930" y="124"/>
                  </a:lnTo>
                  <a:lnTo>
                    <a:pt x="1976" y="147"/>
                  </a:lnTo>
                  <a:lnTo>
                    <a:pt x="2019" y="171"/>
                  </a:lnTo>
                  <a:lnTo>
                    <a:pt x="2060" y="196"/>
                  </a:lnTo>
                  <a:lnTo>
                    <a:pt x="2098" y="222"/>
                  </a:lnTo>
                  <a:lnTo>
                    <a:pt x="2134" y="250"/>
                  </a:lnTo>
                  <a:lnTo>
                    <a:pt x="2169" y="278"/>
                  </a:lnTo>
                  <a:lnTo>
                    <a:pt x="2200" y="308"/>
                  </a:lnTo>
                  <a:lnTo>
                    <a:pt x="2231" y="337"/>
                  </a:lnTo>
                  <a:lnTo>
                    <a:pt x="2260" y="367"/>
                  </a:lnTo>
                  <a:lnTo>
                    <a:pt x="2289" y="398"/>
                  </a:lnTo>
                  <a:lnTo>
                    <a:pt x="2343" y="461"/>
                  </a:lnTo>
                  <a:lnTo>
                    <a:pt x="2391" y="524"/>
                  </a:lnTo>
                  <a:lnTo>
                    <a:pt x="2432" y="584"/>
                  </a:lnTo>
                  <a:lnTo>
                    <a:pt x="2468" y="644"/>
                  </a:lnTo>
                  <a:lnTo>
                    <a:pt x="2498" y="702"/>
                  </a:lnTo>
                  <a:lnTo>
                    <a:pt x="2523" y="757"/>
                  </a:lnTo>
                  <a:lnTo>
                    <a:pt x="2544" y="811"/>
                  </a:lnTo>
                  <a:lnTo>
                    <a:pt x="2561" y="862"/>
                  </a:lnTo>
                  <a:lnTo>
                    <a:pt x="2574" y="911"/>
                  </a:lnTo>
                  <a:lnTo>
                    <a:pt x="2584" y="956"/>
                  </a:lnTo>
                  <a:lnTo>
                    <a:pt x="2591" y="998"/>
                  </a:lnTo>
                  <a:lnTo>
                    <a:pt x="2596" y="1037"/>
                  </a:lnTo>
                  <a:lnTo>
                    <a:pt x="2598" y="1073"/>
                  </a:lnTo>
                  <a:lnTo>
                    <a:pt x="2599" y="1104"/>
                  </a:lnTo>
                  <a:lnTo>
                    <a:pt x="2598" y="1131"/>
                  </a:lnTo>
                  <a:lnTo>
                    <a:pt x="2597" y="1153"/>
                  </a:lnTo>
                  <a:lnTo>
                    <a:pt x="2595" y="1172"/>
                  </a:lnTo>
                  <a:lnTo>
                    <a:pt x="2594" y="1184"/>
                  </a:lnTo>
                  <a:lnTo>
                    <a:pt x="2592" y="1193"/>
                  </a:lnTo>
                  <a:lnTo>
                    <a:pt x="2592" y="1196"/>
                  </a:lnTo>
                  <a:lnTo>
                    <a:pt x="2589" y="1225"/>
                  </a:lnTo>
                  <a:lnTo>
                    <a:pt x="2582" y="1257"/>
                  </a:lnTo>
                  <a:lnTo>
                    <a:pt x="2574" y="1290"/>
                  </a:lnTo>
                  <a:lnTo>
                    <a:pt x="2562" y="1324"/>
                  </a:lnTo>
                  <a:lnTo>
                    <a:pt x="2550" y="1360"/>
                  </a:lnTo>
                  <a:lnTo>
                    <a:pt x="2534" y="1395"/>
                  </a:lnTo>
                  <a:lnTo>
                    <a:pt x="2517" y="1432"/>
                  </a:lnTo>
                  <a:lnTo>
                    <a:pt x="2499" y="1468"/>
                  </a:lnTo>
                  <a:lnTo>
                    <a:pt x="2480" y="1504"/>
                  </a:lnTo>
                  <a:lnTo>
                    <a:pt x="2460" y="1539"/>
                  </a:lnTo>
                  <a:lnTo>
                    <a:pt x="2440" y="1574"/>
                  </a:lnTo>
                  <a:lnTo>
                    <a:pt x="2419" y="1607"/>
                  </a:lnTo>
                  <a:lnTo>
                    <a:pt x="2399" y="1639"/>
                  </a:lnTo>
                  <a:lnTo>
                    <a:pt x="2379" y="1670"/>
                  </a:lnTo>
                  <a:lnTo>
                    <a:pt x="2361" y="1698"/>
                  </a:lnTo>
                  <a:lnTo>
                    <a:pt x="2343" y="1724"/>
                  </a:lnTo>
                  <a:lnTo>
                    <a:pt x="2327" y="1748"/>
                  </a:lnTo>
                  <a:lnTo>
                    <a:pt x="2312" y="1769"/>
                  </a:lnTo>
                  <a:lnTo>
                    <a:pt x="2299" y="1786"/>
                  </a:lnTo>
                  <a:lnTo>
                    <a:pt x="2289" y="1800"/>
                  </a:lnTo>
                  <a:lnTo>
                    <a:pt x="2281" y="1810"/>
                  </a:lnTo>
                  <a:lnTo>
                    <a:pt x="2276" y="1818"/>
                  </a:lnTo>
                  <a:lnTo>
                    <a:pt x="2275" y="1820"/>
                  </a:lnTo>
                  <a:lnTo>
                    <a:pt x="2237" y="1877"/>
                  </a:lnTo>
                  <a:lnTo>
                    <a:pt x="2206" y="1933"/>
                  </a:lnTo>
                  <a:lnTo>
                    <a:pt x="2180" y="1987"/>
                  </a:lnTo>
                  <a:lnTo>
                    <a:pt x="2160" y="2039"/>
                  </a:lnTo>
                  <a:lnTo>
                    <a:pt x="2145" y="2089"/>
                  </a:lnTo>
                  <a:lnTo>
                    <a:pt x="2133" y="2136"/>
                  </a:lnTo>
                  <a:lnTo>
                    <a:pt x="2126" y="2180"/>
                  </a:lnTo>
                  <a:lnTo>
                    <a:pt x="2121" y="2222"/>
                  </a:lnTo>
                  <a:lnTo>
                    <a:pt x="2120" y="2260"/>
                  </a:lnTo>
                  <a:lnTo>
                    <a:pt x="2121" y="2296"/>
                  </a:lnTo>
                  <a:lnTo>
                    <a:pt x="2123" y="2328"/>
                  </a:lnTo>
                  <a:lnTo>
                    <a:pt x="2128" y="2356"/>
                  </a:lnTo>
                  <a:lnTo>
                    <a:pt x="2132" y="2381"/>
                  </a:lnTo>
                  <a:lnTo>
                    <a:pt x="2137" y="2401"/>
                  </a:lnTo>
                  <a:lnTo>
                    <a:pt x="2141" y="2418"/>
                  </a:lnTo>
                  <a:lnTo>
                    <a:pt x="2146" y="2429"/>
                  </a:lnTo>
                  <a:lnTo>
                    <a:pt x="2149" y="2437"/>
                  </a:lnTo>
                  <a:lnTo>
                    <a:pt x="2150" y="2440"/>
                  </a:lnTo>
                  <a:lnTo>
                    <a:pt x="2098" y="2453"/>
                  </a:lnTo>
                  <a:lnTo>
                    <a:pt x="2049" y="2470"/>
                  </a:lnTo>
                  <a:lnTo>
                    <a:pt x="1999" y="2492"/>
                  </a:lnTo>
                  <a:lnTo>
                    <a:pt x="1951" y="2516"/>
                  </a:lnTo>
                  <a:lnTo>
                    <a:pt x="1902" y="2544"/>
                  </a:lnTo>
                  <a:lnTo>
                    <a:pt x="1856" y="2574"/>
                  </a:lnTo>
                  <a:lnTo>
                    <a:pt x="1811" y="2607"/>
                  </a:lnTo>
                  <a:lnTo>
                    <a:pt x="1767" y="2641"/>
                  </a:lnTo>
                  <a:lnTo>
                    <a:pt x="1724" y="2678"/>
                  </a:lnTo>
                  <a:lnTo>
                    <a:pt x="1681" y="2716"/>
                  </a:lnTo>
                  <a:lnTo>
                    <a:pt x="1641" y="2755"/>
                  </a:lnTo>
                  <a:lnTo>
                    <a:pt x="1602" y="2795"/>
                  </a:lnTo>
                  <a:lnTo>
                    <a:pt x="1566" y="2834"/>
                  </a:lnTo>
                  <a:lnTo>
                    <a:pt x="1530" y="2875"/>
                  </a:lnTo>
                  <a:lnTo>
                    <a:pt x="1496" y="2915"/>
                  </a:lnTo>
                  <a:lnTo>
                    <a:pt x="1464" y="2954"/>
                  </a:lnTo>
                  <a:lnTo>
                    <a:pt x="1434" y="2993"/>
                  </a:lnTo>
                  <a:lnTo>
                    <a:pt x="1406" y="3029"/>
                  </a:lnTo>
                  <a:lnTo>
                    <a:pt x="1379" y="3066"/>
                  </a:lnTo>
                  <a:lnTo>
                    <a:pt x="1355" y="3099"/>
                  </a:lnTo>
                  <a:lnTo>
                    <a:pt x="1334" y="3131"/>
                  </a:lnTo>
                  <a:lnTo>
                    <a:pt x="1314" y="3160"/>
                  </a:lnTo>
                  <a:lnTo>
                    <a:pt x="1297" y="3187"/>
                  </a:lnTo>
                  <a:lnTo>
                    <a:pt x="1283" y="3210"/>
                  </a:lnTo>
                  <a:lnTo>
                    <a:pt x="1270" y="3230"/>
                  </a:lnTo>
                  <a:lnTo>
                    <a:pt x="1260" y="3245"/>
                  </a:lnTo>
                  <a:lnTo>
                    <a:pt x="1253" y="3257"/>
                  </a:lnTo>
                  <a:lnTo>
                    <a:pt x="1249" y="3264"/>
                  </a:lnTo>
                  <a:lnTo>
                    <a:pt x="1248" y="3267"/>
                  </a:lnTo>
                  <a:lnTo>
                    <a:pt x="1244" y="3252"/>
                  </a:lnTo>
                  <a:lnTo>
                    <a:pt x="1238" y="3232"/>
                  </a:lnTo>
                  <a:lnTo>
                    <a:pt x="1230" y="3210"/>
                  </a:lnTo>
                  <a:lnTo>
                    <a:pt x="1220" y="3185"/>
                  </a:lnTo>
                  <a:lnTo>
                    <a:pt x="1209" y="3158"/>
                  </a:lnTo>
                  <a:lnTo>
                    <a:pt x="1197" y="3129"/>
                  </a:lnTo>
                  <a:lnTo>
                    <a:pt x="1183" y="3097"/>
                  </a:lnTo>
                  <a:lnTo>
                    <a:pt x="1168" y="3066"/>
                  </a:lnTo>
                  <a:lnTo>
                    <a:pt x="1153" y="3033"/>
                  </a:lnTo>
                  <a:lnTo>
                    <a:pt x="1137" y="2999"/>
                  </a:lnTo>
                  <a:lnTo>
                    <a:pt x="1122" y="2967"/>
                  </a:lnTo>
                  <a:lnTo>
                    <a:pt x="1105" y="2933"/>
                  </a:lnTo>
                  <a:lnTo>
                    <a:pt x="1089" y="2902"/>
                  </a:lnTo>
                  <a:lnTo>
                    <a:pt x="1074" y="2871"/>
                  </a:lnTo>
                  <a:lnTo>
                    <a:pt x="1059" y="2843"/>
                  </a:lnTo>
                  <a:lnTo>
                    <a:pt x="1045" y="2815"/>
                  </a:lnTo>
                  <a:lnTo>
                    <a:pt x="1032" y="2790"/>
                  </a:lnTo>
                  <a:lnTo>
                    <a:pt x="1020" y="2768"/>
                  </a:lnTo>
                  <a:lnTo>
                    <a:pt x="1011" y="2750"/>
                  </a:lnTo>
                  <a:lnTo>
                    <a:pt x="1003" y="2734"/>
                  </a:lnTo>
                  <a:lnTo>
                    <a:pt x="997" y="2723"/>
                  </a:lnTo>
                  <a:lnTo>
                    <a:pt x="993" y="2715"/>
                  </a:lnTo>
                  <a:lnTo>
                    <a:pt x="992" y="2713"/>
                  </a:lnTo>
                  <a:lnTo>
                    <a:pt x="968" y="2687"/>
                  </a:lnTo>
                  <a:lnTo>
                    <a:pt x="942" y="2666"/>
                  </a:lnTo>
                  <a:lnTo>
                    <a:pt x="914" y="2652"/>
                  </a:lnTo>
                  <a:lnTo>
                    <a:pt x="885" y="2640"/>
                  </a:lnTo>
                  <a:lnTo>
                    <a:pt x="855" y="2633"/>
                  </a:lnTo>
                  <a:lnTo>
                    <a:pt x="825" y="2629"/>
                  </a:lnTo>
                  <a:lnTo>
                    <a:pt x="794" y="2627"/>
                  </a:lnTo>
                  <a:lnTo>
                    <a:pt x="765" y="2628"/>
                  </a:lnTo>
                  <a:lnTo>
                    <a:pt x="735" y="2630"/>
                  </a:lnTo>
                  <a:lnTo>
                    <a:pt x="708" y="2633"/>
                  </a:lnTo>
                  <a:lnTo>
                    <a:pt x="682" y="2636"/>
                  </a:lnTo>
                  <a:lnTo>
                    <a:pt x="657" y="2640"/>
                  </a:lnTo>
                  <a:lnTo>
                    <a:pt x="635" y="2643"/>
                  </a:lnTo>
                  <a:lnTo>
                    <a:pt x="586" y="2647"/>
                  </a:lnTo>
                  <a:lnTo>
                    <a:pt x="542" y="2651"/>
                  </a:lnTo>
                  <a:lnTo>
                    <a:pt x="502" y="2651"/>
                  </a:lnTo>
                  <a:lnTo>
                    <a:pt x="467" y="2648"/>
                  </a:lnTo>
                  <a:lnTo>
                    <a:pt x="436" y="2645"/>
                  </a:lnTo>
                  <a:lnTo>
                    <a:pt x="409" y="2641"/>
                  </a:lnTo>
                  <a:lnTo>
                    <a:pt x="387" y="2636"/>
                  </a:lnTo>
                  <a:lnTo>
                    <a:pt x="367" y="2630"/>
                  </a:lnTo>
                  <a:lnTo>
                    <a:pt x="351" y="2623"/>
                  </a:lnTo>
                  <a:lnTo>
                    <a:pt x="338" y="2617"/>
                  </a:lnTo>
                  <a:lnTo>
                    <a:pt x="328" y="2612"/>
                  </a:lnTo>
                  <a:lnTo>
                    <a:pt x="321" y="2607"/>
                  </a:lnTo>
                  <a:lnTo>
                    <a:pt x="315" y="2603"/>
                  </a:lnTo>
                  <a:lnTo>
                    <a:pt x="313" y="2600"/>
                  </a:lnTo>
                  <a:lnTo>
                    <a:pt x="312" y="2599"/>
                  </a:lnTo>
                  <a:lnTo>
                    <a:pt x="300" y="2588"/>
                  </a:lnTo>
                  <a:lnTo>
                    <a:pt x="290" y="2574"/>
                  </a:lnTo>
                  <a:lnTo>
                    <a:pt x="284" y="2557"/>
                  </a:lnTo>
                  <a:lnTo>
                    <a:pt x="280" y="2538"/>
                  </a:lnTo>
                  <a:lnTo>
                    <a:pt x="276" y="2518"/>
                  </a:lnTo>
                  <a:lnTo>
                    <a:pt x="275" y="2497"/>
                  </a:lnTo>
                  <a:lnTo>
                    <a:pt x="276" y="2478"/>
                  </a:lnTo>
                  <a:lnTo>
                    <a:pt x="277" y="2461"/>
                  </a:lnTo>
                  <a:lnTo>
                    <a:pt x="278" y="2445"/>
                  </a:lnTo>
                  <a:lnTo>
                    <a:pt x="281" y="2432"/>
                  </a:lnTo>
                  <a:lnTo>
                    <a:pt x="282" y="2425"/>
                  </a:lnTo>
                  <a:lnTo>
                    <a:pt x="282" y="2422"/>
                  </a:lnTo>
                  <a:lnTo>
                    <a:pt x="287" y="2399"/>
                  </a:lnTo>
                  <a:lnTo>
                    <a:pt x="289" y="2378"/>
                  </a:lnTo>
                  <a:lnTo>
                    <a:pt x="287" y="2359"/>
                  </a:lnTo>
                  <a:lnTo>
                    <a:pt x="284" y="2343"/>
                  </a:lnTo>
                  <a:lnTo>
                    <a:pt x="277" y="2328"/>
                  </a:lnTo>
                  <a:lnTo>
                    <a:pt x="271" y="2316"/>
                  </a:lnTo>
                  <a:lnTo>
                    <a:pt x="263" y="2304"/>
                  </a:lnTo>
                  <a:lnTo>
                    <a:pt x="255" y="2293"/>
                  </a:lnTo>
                  <a:lnTo>
                    <a:pt x="248" y="2283"/>
                  </a:lnTo>
                  <a:lnTo>
                    <a:pt x="233" y="2261"/>
                  </a:lnTo>
                  <a:lnTo>
                    <a:pt x="224" y="2241"/>
                  </a:lnTo>
                  <a:lnTo>
                    <a:pt x="217" y="2224"/>
                  </a:lnTo>
                  <a:lnTo>
                    <a:pt x="215" y="2209"/>
                  </a:lnTo>
                  <a:lnTo>
                    <a:pt x="214" y="2197"/>
                  </a:lnTo>
                  <a:lnTo>
                    <a:pt x="216" y="2186"/>
                  </a:lnTo>
                  <a:lnTo>
                    <a:pt x="218" y="2178"/>
                  </a:lnTo>
                  <a:lnTo>
                    <a:pt x="221" y="2173"/>
                  </a:lnTo>
                  <a:lnTo>
                    <a:pt x="223" y="2169"/>
                  </a:lnTo>
                  <a:lnTo>
                    <a:pt x="224" y="2168"/>
                  </a:lnTo>
                  <a:lnTo>
                    <a:pt x="230" y="2158"/>
                  </a:lnTo>
                  <a:lnTo>
                    <a:pt x="233" y="2150"/>
                  </a:lnTo>
                  <a:lnTo>
                    <a:pt x="233" y="2142"/>
                  </a:lnTo>
                  <a:lnTo>
                    <a:pt x="232" y="2138"/>
                  </a:lnTo>
                  <a:lnTo>
                    <a:pt x="231" y="2135"/>
                  </a:lnTo>
                  <a:lnTo>
                    <a:pt x="230" y="2134"/>
                  </a:lnTo>
                  <a:lnTo>
                    <a:pt x="209" y="2126"/>
                  </a:lnTo>
                  <a:lnTo>
                    <a:pt x="193" y="2117"/>
                  </a:lnTo>
                  <a:lnTo>
                    <a:pt x="182" y="2108"/>
                  </a:lnTo>
                  <a:lnTo>
                    <a:pt x="173" y="2100"/>
                  </a:lnTo>
                  <a:lnTo>
                    <a:pt x="168" y="2091"/>
                  </a:lnTo>
                  <a:lnTo>
                    <a:pt x="165" y="2085"/>
                  </a:lnTo>
                  <a:lnTo>
                    <a:pt x="164" y="2081"/>
                  </a:lnTo>
                  <a:lnTo>
                    <a:pt x="163" y="2080"/>
                  </a:lnTo>
                  <a:lnTo>
                    <a:pt x="165" y="1966"/>
                  </a:lnTo>
                  <a:lnTo>
                    <a:pt x="166" y="1945"/>
                  </a:lnTo>
                  <a:lnTo>
                    <a:pt x="166" y="1927"/>
                  </a:lnTo>
                  <a:lnTo>
                    <a:pt x="164" y="1914"/>
                  </a:lnTo>
                  <a:lnTo>
                    <a:pt x="160" y="1903"/>
                  </a:lnTo>
                  <a:lnTo>
                    <a:pt x="155" y="1895"/>
                  </a:lnTo>
                  <a:lnTo>
                    <a:pt x="151" y="1890"/>
                  </a:lnTo>
                  <a:lnTo>
                    <a:pt x="147" y="1887"/>
                  </a:lnTo>
                  <a:lnTo>
                    <a:pt x="143" y="1885"/>
                  </a:lnTo>
                  <a:lnTo>
                    <a:pt x="140" y="1883"/>
                  </a:lnTo>
                  <a:lnTo>
                    <a:pt x="140" y="1883"/>
                  </a:lnTo>
                  <a:lnTo>
                    <a:pt x="109" y="1881"/>
                  </a:lnTo>
                  <a:lnTo>
                    <a:pt x="83" y="1876"/>
                  </a:lnTo>
                  <a:lnTo>
                    <a:pt x="62" y="1869"/>
                  </a:lnTo>
                  <a:lnTo>
                    <a:pt x="45" y="1861"/>
                  </a:lnTo>
                  <a:lnTo>
                    <a:pt x="30" y="1851"/>
                  </a:lnTo>
                  <a:lnTo>
                    <a:pt x="20" y="1841"/>
                  </a:lnTo>
                  <a:lnTo>
                    <a:pt x="12" y="1829"/>
                  </a:lnTo>
                  <a:lnTo>
                    <a:pt x="7" y="1819"/>
                  </a:lnTo>
                  <a:lnTo>
                    <a:pt x="3" y="1809"/>
                  </a:lnTo>
                  <a:lnTo>
                    <a:pt x="1" y="1801"/>
                  </a:lnTo>
                  <a:lnTo>
                    <a:pt x="0" y="1795"/>
                  </a:lnTo>
                  <a:lnTo>
                    <a:pt x="0" y="1791"/>
                  </a:lnTo>
                  <a:lnTo>
                    <a:pt x="0" y="1788"/>
                  </a:lnTo>
                  <a:lnTo>
                    <a:pt x="0" y="1779"/>
                  </a:lnTo>
                  <a:lnTo>
                    <a:pt x="3" y="1766"/>
                  </a:lnTo>
                  <a:lnTo>
                    <a:pt x="9" y="1749"/>
                  </a:lnTo>
                  <a:lnTo>
                    <a:pt x="16" y="1729"/>
                  </a:lnTo>
                  <a:lnTo>
                    <a:pt x="26" y="1707"/>
                  </a:lnTo>
                  <a:lnTo>
                    <a:pt x="36" y="1684"/>
                  </a:lnTo>
                  <a:lnTo>
                    <a:pt x="48" y="1659"/>
                  </a:lnTo>
                  <a:lnTo>
                    <a:pt x="61" y="1633"/>
                  </a:lnTo>
                  <a:lnTo>
                    <a:pt x="73" y="1608"/>
                  </a:lnTo>
                  <a:lnTo>
                    <a:pt x="87" y="1582"/>
                  </a:lnTo>
                  <a:lnTo>
                    <a:pt x="101" y="1557"/>
                  </a:lnTo>
                  <a:lnTo>
                    <a:pt x="113" y="1533"/>
                  </a:lnTo>
                  <a:lnTo>
                    <a:pt x="125" y="1511"/>
                  </a:lnTo>
                  <a:lnTo>
                    <a:pt x="136" y="1490"/>
                  </a:lnTo>
                  <a:lnTo>
                    <a:pt x="146" y="1472"/>
                  </a:lnTo>
                  <a:lnTo>
                    <a:pt x="154" y="1458"/>
                  </a:lnTo>
                  <a:lnTo>
                    <a:pt x="161" y="1447"/>
                  </a:lnTo>
                  <a:lnTo>
                    <a:pt x="165" y="1440"/>
                  </a:lnTo>
                  <a:lnTo>
                    <a:pt x="166" y="1438"/>
                  </a:lnTo>
                  <a:lnTo>
                    <a:pt x="181" y="1405"/>
                  </a:lnTo>
                  <a:lnTo>
                    <a:pt x="189" y="1375"/>
                  </a:lnTo>
                  <a:lnTo>
                    <a:pt x="193" y="1347"/>
                  </a:lnTo>
                  <a:lnTo>
                    <a:pt x="194" y="1320"/>
                  </a:lnTo>
                  <a:lnTo>
                    <a:pt x="191" y="1295"/>
                  </a:lnTo>
                  <a:lnTo>
                    <a:pt x="186" y="1271"/>
                  </a:lnTo>
                  <a:lnTo>
                    <a:pt x="178" y="1248"/>
                  </a:lnTo>
                  <a:lnTo>
                    <a:pt x="169" y="1226"/>
                  </a:lnTo>
                  <a:lnTo>
                    <a:pt x="160" y="1205"/>
                  </a:lnTo>
                  <a:lnTo>
                    <a:pt x="150" y="1185"/>
                  </a:lnTo>
                  <a:lnTo>
                    <a:pt x="141" y="1166"/>
                  </a:lnTo>
                  <a:lnTo>
                    <a:pt x="133" y="1148"/>
                  </a:lnTo>
                  <a:lnTo>
                    <a:pt x="127" y="1130"/>
                  </a:lnTo>
                  <a:lnTo>
                    <a:pt x="124" y="1113"/>
                  </a:lnTo>
                  <a:lnTo>
                    <a:pt x="120" y="1042"/>
                  </a:lnTo>
                  <a:lnTo>
                    <a:pt x="119" y="974"/>
                  </a:lnTo>
                  <a:lnTo>
                    <a:pt x="121" y="910"/>
                  </a:lnTo>
                  <a:lnTo>
                    <a:pt x="128" y="849"/>
                  </a:lnTo>
                  <a:lnTo>
                    <a:pt x="137" y="791"/>
                  </a:lnTo>
                  <a:lnTo>
                    <a:pt x="151" y="737"/>
                  </a:lnTo>
                  <a:lnTo>
                    <a:pt x="167" y="684"/>
                  </a:lnTo>
                  <a:lnTo>
                    <a:pt x="187" y="634"/>
                  </a:lnTo>
                  <a:lnTo>
                    <a:pt x="208" y="587"/>
                  </a:lnTo>
                  <a:lnTo>
                    <a:pt x="232" y="542"/>
                  </a:lnTo>
                  <a:lnTo>
                    <a:pt x="258" y="500"/>
                  </a:lnTo>
                  <a:lnTo>
                    <a:pt x="287" y="459"/>
                  </a:lnTo>
                  <a:lnTo>
                    <a:pt x="317" y="420"/>
                  </a:lnTo>
                  <a:lnTo>
                    <a:pt x="349" y="383"/>
                  </a:lnTo>
                  <a:lnTo>
                    <a:pt x="383" y="346"/>
                  </a:lnTo>
                  <a:lnTo>
                    <a:pt x="435" y="294"/>
                  </a:lnTo>
                  <a:lnTo>
                    <a:pt x="491" y="247"/>
                  </a:lnTo>
                  <a:lnTo>
                    <a:pt x="547" y="205"/>
                  </a:lnTo>
                  <a:lnTo>
                    <a:pt x="604" y="168"/>
                  </a:lnTo>
                  <a:lnTo>
                    <a:pt x="662" y="135"/>
                  </a:lnTo>
                  <a:lnTo>
                    <a:pt x="721" y="107"/>
                  </a:lnTo>
                  <a:lnTo>
                    <a:pt x="778" y="83"/>
                  </a:lnTo>
                  <a:lnTo>
                    <a:pt x="836" y="62"/>
                  </a:lnTo>
                  <a:lnTo>
                    <a:pt x="894" y="46"/>
                  </a:lnTo>
                  <a:lnTo>
                    <a:pt x="951" y="31"/>
                  </a:lnTo>
                  <a:lnTo>
                    <a:pt x="1007" y="21"/>
                  </a:lnTo>
                  <a:lnTo>
                    <a:pt x="1060" y="12"/>
                  </a:lnTo>
                  <a:lnTo>
                    <a:pt x="1113" y="6"/>
                  </a:lnTo>
                  <a:lnTo>
                    <a:pt x="1164" y="2"/>
                  </a:lnTo>
                  <a:lnTo>
                    <a:pt x="1212" y="0"/>
                  </a:lnTo>
                  <a:lnTo>
                    <a:pt x="125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>
                <a:defRPr/>
              </a:pPr>
              <a:endParaRPr lang="en-US" sz="1200" kern="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26" name="Oval 25">
            <a:extLst>
              <a:ext uri="{FF2B5EF4-FFF2-40B4-BE49-F238E27FC236}">
                <a16:creationId xmlns:a16="http://schemas.microsoft.com/office/drawing/2014/main" id="{074D9A1A-60B7-4F7A-A671-89BD964D17EB}"/>
              </a:ext>
            </a:extLst>
          </p:cNvPr>
          <p:cNvSpPr/>
          <p:nvPr/>
        </p:nvSpPr>
        <p:spPr>
          <a:xfrm flipV="1">
            <a:off x="5995780" y="759913"/>
            <a:ext cx="766053" cy="765853"/>
          </a:xfrm>
          <a:prstGeom prst="ellipse">
            <a:avLst/>
          </a:prstGeom>
          <a:solidFill>
            <a:srgbClr val="1D567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8589" tIns="34295" rIns="68589" bIns="34295" rtlCol="0" anchor="ctr"/>
          <a:lstStyle/>
          <a:p>
            <a:pPr algn="ctr" defTabSz="685891">
              <a:defRPr/>
            </a:pPr>
            <a:endParaRPr lang="en-IN" sz="1200" kern="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EADB3DF-6CBF-48B2-8541-9E133EF5A445}"/>
              </a:ext>
            </a:extLst>
          </p:cNvPr>
          <p:cNvSpPr/>
          <p:nvPr/>
        </p:nvSpPr>
        <p:spPr>
          <a:xfrm flipV="1">
            <a:off x="3878259" y="759913"/>
            <a:ext cx="766053" cy="765853"/>
          </a:xfrm>
          <a:prstGeom prst="ellipse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8589" tIns="34295" rIns="68589" bIns="34295" rtlCol="0" anchor="ctr"/>
          <a:lstStyle/>
          <a:p>
            <a:pPr algn="ctr" defTabSz="685891">
              <a:defRPr/>
            </a:pPr>
            <a:endParaRPr lang="en-IN" sz="1200" kern="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E64B305-9CF1-49B2-B021-91051DC6FD5E}"/>
              </a:ext>
            </a:extLst>
          </p:cNvPr>
          <p:cNvSpPr/>
          <p:nvPr/>
        </p:nvSpPr>
        <p:spPr>
          <a:xfrm>
            <a:off x="1250697" y="1677038"/>
            <a:ext cx="1892203" cy="284703"/>
          </a:xfrm>
          <a:prstGeom prst="rect">
            <a:avLst/>
          </a:prstGeom>
        </p:spPr>
        <p:txBody>
          <a:bodyPr wrap="none" lIns="68589" tIns="34295" rIns="68589" bIns="34295">
            <a:spAutoFit/>
          </a:bodyPr>
          <a:lstStyle/>
          <a:p>
            <a:pPr defTabSz="685891">
              <a:defRPr/>
            </a:pPr>
            <a:r>
              <a:rPr lang="en-US" sz="1400" b="1" kern="0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oject Communicatio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4B3C3F-276A-4887-A6AF-A79DAFF73653}"/>
              </a:ext>
            </a:extLst>
          </p:cNvPr>
          <p:cNvSpPr/>
          <p:nvPr/>
        </p:nvSpPr>
        <p:spPr>
          <a:xfrm>
            <a:off x="3460963" y="1588028"/>
            <a:ext cx="1629311" cy="500147"/>
          </a:xfrm>
          <a:prstGeom prst="rect">
            <a:avLst/>
          </a:prstGeom>
        </p:spPr>
        <p:txBody>
          <a:bodyPr wrap="none" lIns="68589" tIns="34295" rIns="68589" bIns="34295">
            <a:spAutoFit/>
          </a:bodyPr>
          <a:lstStyle/>
          <a:p>
            <a:pPr algn="ctr" defTabSz="685891">
              <a:defRPr/>
            </a:pPr>
            <a:r>
              <a:rPr lang="en-US" sz="1400" b="1" kern="0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eekly Status Calls </a:t>
            </a:r>
          </a:p>
          <a:p>
            <a:pPr algn="ctr" defTabSz="685891">
              <a:defRPr/>
            </a:pPr>
            <a:r>
              <a:rPr lang="en-US" sz="1400" b="1" kern="0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nd Repor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87B4360-4E5B-4697-8710-36EB60B86D78}"/>
              </a:ext>
            </a:extLst>
          </p:cNvPr>
          <p:cNvSpPr/>
          <p:nvPr/>
        </p:nvSpPr>
        <p:spPr>
          <a:xfrm>
            <a:off x="5623633" y="1677038"/>
            <a:ext cx="1618090" cy="284703"/>
          </a:xfrm>
          <a:prstGeom prst="rect">
            <a:avLst/>
          </a:prstGeom>
        </p:spPr>
        <p:txBody>
          <a:bodyPr wrap="none" lIns="68589" tIns="34295" rIns="68589" bIns="34295">
            <a:spAutoFit/>
          </a:bodyPr>
          <a:lstStyle/>
          <a:p>
            <a:pPr algn="ctr" defTabSz="685891">
              <a:defRPr/>
            </a:pPr>
            <a:r>
              <a:rPr lang="en-US" sz="1400" b="1" kern="0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oject Plan Review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46DD8B3-C50A-455B-B3AB-05E4FEEE4ADF}"/>
              </a:ext>
            </a:extLst>
          </p:cNvPr>
          <p:cNvSpPr/>
          <p:nvPr/>
        </p:nvSpPr>
        <p:spPr>
          <a:xfrm>
            <a:off x="1326407" y="2257429"/>
            <a:ext cx="1683111" cy="1146478"/>
          </a:xfrm>
          <a:prstGeom prst="rect">
            <a:avLst/>
          </a:prstGeom>
        </p:spPr>
        <p:txBody>
          <a:bodyPr wrap="square" lIns="68589" tIns="34295" rIns="68589" bIns="34295">
            <a:spAutoFit/>
          </a:bodyPr>
          <a:lstStyle/>
          <a:p>
            <a:r>
              <a:rPr lang="en-US" sz="1400" dirty="0">
                <a:latin typeface="Calibri" panose="020F0502020204030204" pitchFamily="34" charset="0"/>
              </a:rPr>
              <a:t>Communication between Coursera &amp; YASH PM will be by means of Email, Phone, WebEx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E39C3BC-99AC-4811-8831-777B928E836A}"/>
              </a:ext>
            </a:extLst>
          </p:cNvPr>
          <p:cNvSpPr/>
          <p:nvPr/>
        </p:nvSpPr>
        <p:spPr>
          <a:xfrm>
            <a:off x="3420505" y="2257429"/>
            <a:ext cx="1683111" cy="1577365"/>
          </a:xfrm>
          <a:prstGeom prst="rect">
            <a:avLst/>
          </a:prstGeom>
        </p:spPr>
        <p:txBody>
          <a:bodyPr wrap="square" lIns="68589" tIns="34295" rIns="68589" bIns="34295">
            <a:spAutoFit/>
          </a:bodyPr>
          <a:lstStyle/>
          <a:p>
            <a:r>
              <a:rPr lang="en-US" sz="1400" dirty="0">
                <a:latin typeface="Calibri" panose="020F0502020204030204" pitchFamily="34" charset="0"/>
              </a:rPr>
              <a:t>Weekly status report will be sent to all stake holders by YASH PM and a review call will be scheduled to discuss the same.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004C2E4-42C9-407D-B572-566AD125D081}"/>
              </a:ext>
            </a:extLst>
          </p:cNvPr>
          <p:cNvSpPr/>
          <p:nvPr/>
        </p:nvSpPr>
        <p:spPr>
          <a:xfrm>
            <a:off x="5563627" y="2276152"/>
            <a:ext cx="1683111" cy="1361921"/>
          </a:xfrm>
          <a:prstGeom prst="rect">
            <a:avLst/>
          </a:prstGeom>
        </p:spPr>
        <p:txBody>
          <a:bodyPr wrap="square" lIns="68589" tIns="34295" rIns="68589" bIns="34295">
            <a:spAutoFit/>
          </a:bodyPr>
          <a:lstStyle/>
          <a:p>
            <a:r>
              <a:rPr lang="en-US" sz="1400" b="1" dirty="0">
                <a:latin typeface="Calibri" panose="020F0502020204030204" pitchFamily="34" charset="0"/>
              </a:rPr>
              <a:t>Bi-Weekly</a:t>
            </a:r>
            <a:r>
              <a:rPr lang="en-US" sz="1400" dirty="0">
                <a:latin typeface="Calibri" panose="020F0502020204030204" pitchFamily="34" charset="0"/>
              </a:rPr>
              <a:t> Review of the Project Plan by both the PM’s to track the project status and discuss any Issues.</a:t>
            </a:r>
          </a:p>
        </p:txBody>
      </p:sp>
      <p:pic>
        <p:nvPicPr>
          <p:cNvPr id="39" name="Picture 8" descr="G:\NIRAJ\PPT\icon\content-management.png">
            <a:extLst>
              <a:ext uri="{FF2B5EF4-FFF2-40B4-BE49-F238E27FC236}">
                <a16:creationId xmlns:a16="http://schemas.microsoft.com/office/drawing/2014/main" id="{1006B56B-F205-4B87-A9E8-7A07DE2249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0973" y="953536"/>
            <a:ext cx="333792" cy="333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" descr="G:\NIRAJ\PPT\icon\operation.png">
            <a:extLst>
              <a:ext uri="{FF2B5EF4-FFF2-40B4-BE49-F238E27FC236}">
                <a16:creationId xmlns:a16="http://schemas.microsoft.com/office/drawing/2014/main" id="{33EC7B2F-DDC9-47A5-BE09-79A0CD8433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4589" y="956757"/>
            <a:ext cx="346886" cy="346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34571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249283" y="805070"/>
            <a:ext cx="3265605" cy="321768"/>
          </a:xfrm>
        </p:spPr>
        <p:txBody>
          <a:bodyPr/>
          <a:lstStyle/>
          <a:p>
            <a:r>
              <a:rPr lang="en-US" sz="2700" dirty="0">
                <a:latin typeface="Calibri" panose="020F050202020403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8712342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C611127-A726-4465-8600-C72A53AED7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2067" y="108654"/>
            <a:ext cx="7886700" cy="577081"/>
          </a:xfrm>
        </p:spPr>
        <p:txBody>
          <a:bodyPr/>
          <a:lstStyle/>
          <a:p>
            <a:r>
              <a:rPr lang="en-US" dirty="0"/>
              <a:t>Agenda</a:t>
            </a:r>
            <a:br>
              <a:rPr lang="en-US" dirty="0"/>
            </a:br>
            <a:endParaRPr lang="en-US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77AB5A6-C856-4314-BEEF-12BF49C8C53C}"/>
              </a:ext>
            </a:extLst>
          </p:cNvPr>
          <p:cNvGrpSpPr/>
          <p:nvPr/>
        </p:nvGrpSpPr>
        <p:grpSpPr>
          <a:xfrm>
            <a:off x="265825" y="520990"/>
            <a:ext cx="8411819" cy="3997847"/>
            <a:chOff x="0" y="-6439"/>
            <a:chExt cx="9156880" cy="6864439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62D1211A-731C-4F6D-AFD7-ADB1DBCB2D04}"/>
                </a:ext>
              </a:extLst>
            </p:cNvPr>
            <p:cNvGrpSpPr/>
            <p:nvPr/>
          </p:nvGrpSpPr>
          <p:grpSpPr>
            <a:xfrm>
              <a:off x="0" y="-6439"/>
              <a:ext cx="9156880" cy="6864439"/>
              <a:chOff x="-6440" y="11933"/>
              <a:chExt cx="9156880" cy="986171"/>
            </a:xfrm>
          </p:grpSpPr>
          <p:sp>
            <p:nvSpPr>
              <p:cNvPr id="41" name="Freeform 94">
                <a:extLst>
                  <a:ext uri="{FF2B5EF4-FFF2-40B4-BE49-F238E27FC236}">
                    <a16:creationId xmlns:a16="http://schemas.microsoft.com/office/drawing/2014/main" id="{FDF55CF6-7996-44E6-BBD6-6A5A8A141FDC}"/>
                  </a:ext>
                </a:extLst>
              </p:cNvPr>
              <p:cNvSpPr/>
              <p:nvPr/>
            </p:nvSpPr>
            <p:spPr>
              <a:xfrm>
                <a:off x="0" y="12870"/>
                <a:ext cx="9144000" cy="985234"/>
              </a:xfrm>
              <a:custGeom>
                <a:avLst/>
                <a:gdLst>
                  <a:gd name="connsiteX0" fmla="*/ 0 w 9144000"/>
                  <a:gd name="connsiteY0" fmla="*/ 0 h 985234"/>
                  <a:gd name="connsiteX1" fmla="*/ 9144000 w 9144000"/>
                  <a:gd name="connsiteY1" fmla="*/ 0 h 985234"/>
                  <a:gd name="connsiteX2" fmla="*/ 9144000 w 9144000"/>
                  <a:gd name="connsiteY2" fmla="*/ 985234 h 985234"/>
                  <a:gd name="connsiteX3" fmla="*/ 0 w 9144000"/>
                  <a:gd name="connsiteY3" fmla="*/ 985234 h 985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44000" h="985234">
                    <a:moveTo>
                      <a:pt x="0" y="0"/>
                    </a:moveTo>
                    <a:lnTo>
                      <a:pt x="9144000" y="0"/>
                    </a:lnTo>
                    <a:lnTo>
                      <a:pt x="9144000" y="985234"/>
                    </a:lnTo>
                    <a:lnTo>
                      <a:pt x="0" y="985234"/>
                    </a:lnTo>
                    <a:close/>
                  </a:path>
                </a:pathLst>
              </a:custGeom>
              <a:blipFill dpi="0" rotWithShape="1">
                <a:blip r:embed="rId2"/>
                <a:srcRect/>
                <a:stretch>
                  <a:fillRect/>
                </a:stretch>
              </a:blip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 dirty="0">
                  <a:solidFill>
                    <a:prstClr val="white"/>
                  </a:solidFill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587BF893-DDAE-4B09-B173-5FD515FE16C1}"/>
                  </a:ext>
                </a:extLst>
              </p:cNvPr>
              <p:cNvSpPr/>
              <p:nvPr/>
            </p:nvSpPr>
            <p:spPr>
              <a:xfrm>
                <a:off x="-6440" y="11933"/>
                <a:ext cx="9156880" cy="986171"/>
              </a:xfrm>
              <a:prstGeom prst="rect">
                <a:avLst/>
              </a:prstGeom>
              <a:solidFill>
                <a:sysClr val="windowText" lastClr="000000">
                  <a:lumMod val="95000"/>
                  <a:lumOff val="5000"/>
                  <a:alpha val="53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 dirty="0">
                  <a:solidFill>
                    <a:prstClr val="white"/>
                  </a:solidFill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3C5958EB-1490-4AFD-9623-C0CC30D0E2CD}"/>
                </a:ext>
              </a:extLst>
            </p:cNvPr>
            <p:cNvSpPr/>
            <p:nvPr/>
          </p:nvSpPr>
          <p:spPr>
            <a:xfrm>
              <a:off x="0" y="764275"/>
              <a:ext cx="9156880" cy="6092137"/>
            </a:xfrm>
            <a:prstGeom prst="rect">
              <a:avLst/>
            </a:prstGeom>
            <a:solidFill>
              <a:srgbClr val="00518E">
                <a:alpha val="51765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9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BAA324F6-6EB9-4912-B446-9264711CA070}"/>
              </a:ext>
            </a:extLst>
          </p:cNvPr>
          <p:cNvSpPr/>
          <p:nvPr/>
        </p:nvSpPr>
        <p:spPr>
          <a:xfrm>
            <a:off x="287066" y="809710"/>
            <a:ext cx="2510079" cy="904493"/>
          </a:xfrm>
          <a:prstGeom prst="rect">
            <a:avLst/>
          </a:prstGeom>
          <a:solidFill>
            <a:srgbClr val="4C6F88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lang="en-US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B0C6569-8730-4E95-8A5E-894E9D574DF0}"/>
              </a:ext>
            </a:extLst>
          </p:cNvPr>
          <p:cNvSpPr/>
          <p:nvPr/>
        </p:nvSpPr>
        <p:spPr>
          <a:xfrm>
            <a:off x="5944024" y="872268"/>
            <a:ext cx="2510079" cy="904493"/>
          </a:xfrm>
          <a:prstGeom prst="rect">
            <a:avLst/>
          </a:prstGeom>
          <a:solidFill>
            <a:schemeClr val="bg1">
              <a:alpha val="19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81B7A377-156A-47AE-ADB2-BA53535A68AF}"/>
              </a:ext>
            </a:extLst>
          </p:cNvPr>
          <p:cNvSpPr/>
          <p:nvPr/>
        </p:nvSpPr>
        <p:spPr>
          <a:xfrm>
            <a:off x="5944024" y="2034567"/>
            <a:ext cx="2510079" cy="904493"/>
          </a:xfrm>
          <a:prstGeom prst="rect">
            <a:avLst/>
          </a:prstGeom>
          <a:solidFill>
            <a:schemeClr val="bg1">
              <a:alpha val="19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lang="en-US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5E2C975-2EA8-459A-B070-7E700FAFB202}"/>
              </a:ext>
            </a:extLst>
          </p:cNvPr>
          <p:cNvSpPr/>
          <p:nvPr/>
        </p:nvSpPr>
        <p:spPr>
          <a:xfrm>
            <a:off x="3191879" y="809710"/>
            <a:ext cx="2510079" cy="904493"/>
          </a:xfrm>
          <a:prstGeom prst="rect">
            <a:avLst/>
          </a:prstGeom>
          <a:solidFill>
            <a:schemeClr val="bg1">
              <a:alpha val="19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lang="en-US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FB4AFF0-AF9E-4434-981B-A9366B363787}"/>
              </a:ext>
            </a:extLst>
          </p:cNvPr>
          <p:cNvSpPr/>
          <p:nvPr/>
        </p:nvSpPr>
        <p:spPr>
          <a:xfrm>
            <a:off x="453528" y="2034567"/>
            <a:ext cx="2510079" cy="904493"/>
          </a:xfrm>
          <a:prstGeom prst="rect">
            <a:avLst/>
          </a:prstGeom>
          <a:solidFill>
            <a:schemeClr val="bg1">
              <a:alpha val="19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lang="en-US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CE0DA85-76EE-4263-B81B-6C1A101AC9AE}"/>
              </a:ext>
            </a:extLst>
          </p:cNvPr>
          <p:cNvSpPr/>
          <p:nvPr/>
        </p:nvSpPr>
        <p:spPr>
          <a:xfrm>
            <a:off x="540402" y="3348449"/>
            <a:ext cx="2510079" cy="904493"/>
          </a:xfrm>
          <a:prstGeom prst="rect">
            <a:avLst/>
          </a:prstGeom>
          <a:solidFill>
            <a:schemeClr val="bg1">
              <a:alpha val="19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FBCA8161-2F90-4623-B516-3529B1BC0A2F}"/>
              </a:ext>
            </a:extLst>
          </p:cNvPr>
          <p:cNvSpPr/>
          <p:nvPr/>
        </p:nvSpPr>
        <p:spPr>
          <a:xfrm>
            <a:off x="3260031" y="2025211"/>
            <a:ext cx="2510079" cy="904493"/>
          </a:xfrm>
          <a:prstGeom prst="rect">
            <a:avLst/>
          </a:prstGeom>
          <a:solidFill>
            <a:schemeClr val="bg1">
              <a:alpha val="19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lang="en-US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90945EB4-B530-4D13-A33B-F58FDCB42786}"/>
              </a:ext>
            </a:extLst>
          </p:cNvPr>
          <p:cNvSpPr/>
          <p:nvPr/>
        </p:nvSpPr>
        <p:spPr>
          <a:xfrm>
            <a:off x="968964" y="1303061"/>
            <a:ext cx="2420666" cy="284703"/>
          </a:xfrm>
          <a:prstGeom prst="rect">
            <a:avLst/>
          </a:prstGeom>
        </p:spPr>
        <p:txBody>
          <a:bodyPr wrap="square" lIns="68589" tIns="34295" rIns="68589" bIns="34295">
            <a:spAutoFit/>
          </a:bodyPr>
          <a:lstStyle/>
          <a:p>
            <a:pPr defTabSz="685891">
              <a:defRPr/>
            </a:pPr>
            <a:r>
              <a:rPr lang="en-IN" sz="1400" b="1" kern="0" dirty="0">
                <a:solidFill>
                  <a:schemeClr val="bg1"/>
                </a:solidFill>
                <a:latin typeface="Calibri" panose="020F0502020204030204" pitchFamily="34" charset="0"/>
              </a:rPr>
              <a:t>Team Introduction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B7E94C8-3FE3-416E-BA19-E84B2EDFE177}"/>
              </a:ext>
            </a:extLst>
          </p:cNvPr>
          <p:cNvSpPr/>
          <p:nvPr/>
        </p:nvSpPr>
        <p:spPr>
          <a:xfrm>
            <a:off x="3458136" y="1235341"/>
            <a:ext cx="2070521" cy="284703"/>
          </a:xfrm>
          <a:prstGeom prst="rect">
            <a:avLst/>
          </a:prstGeom>
        </p:spPr>
        <p:txBody>
          <a:bodyPr wrap="square" lIns="68589" tIns="34295" rIns="68589" bIns="34295">
            <a:spAutoFit/>
          </a:bodyPr>
          <a:lstStyle/>
          <a:p>
            <a:pPr algn="ctr" defTabSz="685891">
              <a:defRPr/>
            </a:pPr>
            <a:r>
              <a:rPr lang="en-IN" sz="1400" b="1" kern="0" dirty="0">
                <a:solidFill>
                  <a:prstClr val="white"/>
                </a:solidFill>
                <a:latin typeface="Calibri" panose="020F0502020204030204" pitchFamily="34" charset="0"/>
              </a:rPr>
              <a:t>Project Objective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052EA5E-B23C-46EA-9D68-EE0401885D17}"/>
              </a:ext>
            </a:extLst>
          </p:cNvPr>
          <p:cNvSpPr/>
          <p:nvPr/>
        </p:nvSpPr>
        <p:spPr>
          <a:xfrm>
            <a:off x="525638" y="2453312"/>
            <a:ext cx="2342856" cy="500147"/>
          </a:xfrm>
          <a:prstGeom prst="rect">
            <a:avLst/>
          </a:prstGeom>
        </p:spPr>
        <p:txBody>
          <a:bodyPr wrap="square" lIns="68589" tIns="34295" rIns="68589" bIns="34295">
            <a:spAutoFit/>
          </a:bodyPr>
          <a:lstStyle/>
          <a:p>
            <a:pPr algn="ctr" defTabSz="685891">
              <a:defRPr/>
            </a:pPr>
            <a:r>
              <a:rPr lang="en-US" sz="1400" b="1" kern="0" dirty="0">
                <a:solidFill>
                  <a:prstClr val="white"/>
                </a:solidFill>
                <a:latin typeface="Calibri" panose="020F0502020204030204" pitchFamily="34" charset="0"/>
              </a:rPr>
              <a:t>Risks Mitigation Strategies &amp; Assumption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8D63ACC-9AC6-4C11-9580-0B1B92EAB0AD}"/>
              </a:ext>
            </a:extLst>
          </p:cNvPr>
          <p:cNvSpPr/>
          <p:nvPr/>
        </p:nvSpPr>
        <p:spPr>
          <a:xfrm>
            <a:off x="5904092" y="1383081"/>
            <a:ext cx="2544208" cy="284703"/>
          </a:xfrm>
          <a:prstGeom prst="rect">
            <a:avLst/>
          </a:prstGeom>
        </p:spPr>
        <p:txBody>
          <a:bodyPr wrap="square" lIns="68589" tIns="34295" rIns="68589" bIns="34295">
            <a:spAutoFit/>
          </a:bodyPr>
          <a:lstStyle/>
          <a:p>
            <a:pPr algn="ctr" defTabSz="685891">
              <a:defRPr/>
            </a:pPr>
            <a:r>
              <a:rPr lang="en-IN" sz="1400" b="1" kern="0" dirty="0">
                <a:solidFill>
                  <a:prstClr val="white"/>
                </a:solidFill>
                <a:latin typeface="Calibri" panose="020F0502020204030204" pitchFamily="34" charset="0"/>
              </a:rPr>
              <a:t>Project Schedul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E289D67D-3511-464B-88A8-A697837FE3DB}"/>
              </a:ext>
            </a:extLst>
          </p:cNvPr>
          <p:cNvSpPr/>
          <p:nvPr/>
        </p:nvSpPr>
        <p:spPr>
          <a:xfrm>
            <a:off x="3398135" y="2469039"/>
            <a:ext cx="2342856" cy="284703"/>
          </a:xfrm>
          <a:prstGeom prst="rect">
            <a:avLst/>
          </a:prstGeom>
        </p:spPr>
        <p:txBody>
          <a:bodyPr wrap="square" lIns="68589" tIns="34295" rIns="68589" bIns="34295">
            <a:spAutoFit/>
          </a:bodyPr>
          <a:lstStyle/>
          <a:p>
            <a:pPr algn="ctr" defTabSz="685891">
              <a:defRPr/>
            </a:pPr>
            <a:r>
              <a:rPr lang="en-IN" sz="1400" b="1" kern="0" dirty="0">
                <a:solidFill>
                  <a:prstClr val="white"/>
                </a:solidFill>
                <a:latin typeface="Calibri" panose="020F0502020204030204" pitchFamily="34" charset="0"/>
              </a:rPr>
              <a:t>Deliverable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E18BA1E3-E1F0-40D2-A076-DF380BD64FC2}"/>
              </a:ext>
            </a:extLst>
          </p:cNvPr>
          <p:cNvSpPr/>
          <p:nvPr/>
        </p:nvSpPr>
        <p:spPr>
          <a:xfrm>
            <a:off x="6013722" y="2507366"/>
            <a:ext cx="2135934" cy="500147"/>
          </a:xfrm>
          <a:prstGeom prst="rect">
            <a:avLst/>
          </a:prstGeom>
        </p:spPr>
        <p:txBody>
          <a:bodyPr wrap="square" lIns="68589" tIns="34295" rIns="68589" bIns="34295">
            <a:spAutoFit/>
          </a:bodyPr>
          <a:lstStyle/>
          <a:p>
            <a:pPr algn="ctr"/>
            <a:r>
              <a:rPr lang="en-IN" sz="1400" b="1" dirty="0">
                <a:solidFill>
                  <a:schemeClr val="bg1"/>
                </a:solidFill>
                <a:latin typeface="Calibri" panose="020F0502020204030204" pitchFamily="34" charset="0"/>
              </a:rPr>
              <a:t>Project Control and Monitoring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6BA9BDEC-ED41-4ACD-AEB4-8FF251BA60D1}"/>
              </a:ext>
            </a:extLst>
          </p:cNvPr>
          <p:cNvSpPr/>
          <p:nvPr/>
        </p:nvSpPr>
        <p:spPr>
          <a:xfrm>
            <a:off x="1413212" y="3865544"/>
            <a:ext cx="1846819" cy="284703"/>
          </a:xfrm>
          <a:prstGeom prst="rect">
            <a:avLst/>
          </a:prstGeom>
        </p:spPr>
        <p:txBody>
          <a:bodyPr wrap="square" lIns="68589" tIns="34295" rIns="68589" bIns="34295">
            <a:spAutoFit/>
          </a:bodyPr>
          <a:lstStyle/>
          <a:p>
            <a:pPr lvl="0">
              <a:defRPr/>
            </a:pPr>
            <a:r>
              <a:rPr lang="en-IN" sz="1400" b="1" kern="0" dirty="0">
                <a:solidFill>
                  <a:schemeClr val="bg1"/>
                </a:solidFill>
                <a:latin typeface="Calibri" panose="020F0502020204030204" pitchFamily="34" charset="0"/>
              </a:rPr>
              <a:t>Status Reports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1265FFEE-A02E-4D5C-9956-1A3DA97B5CC6}"/>
              </a:ext>
            </a:extLst>
          </p:cNvPr>
          <p:cNvGrpSpPr/>
          <p:nvPr/>
        </p:nvGrpSpPr>
        <p:grpSpPr>
          <a:xfrm>
            <a:off x="4264103" y="2038408"/>
            <a:ext cx="334670" cy="273419"/>
            <a:chOff x="2667000" y="-17463"/>
            <a:chExt cx="6888186" cy="6826251"/>
          </a:xfrm>
          <a:solidFill>
            <a:schemeClr val="bg1"/>
          </a:solidFill>
        </p:grpSpPr>
        <p:sp>
          <p:nvSpPr>
            <p:cNvPr id="60" name="Freeform 23">
              <a:extLst>
                <a:ext uri="{FF2B5EF4-FFF2-40B4-BE49-F238E27FC236}">
                  <a16:creationId xmlns:a16="http://schemas.microsoft.com/office/drawing/2014/main" id="{25DE933C-471E-4B9B-8035-2D5F041DD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9593" y="-17463"/>
              <a:ext cx="5335593" cy="5287960"/>
            </a:xfrm>
            <a:custGeom>
              <a:avLst/>
              <a:gdLst>
                <a:gd name="T0" fmla="*/ 1302 w 4777"/>
                <a:gd name="T1" fmla="*/ 194 h 4735"/>
                <a:gd name="T2" fmla="*/ 1207 w 4777"/>
                <a:gd name="T3" fmla="*/ 803 h 4735"/>
                <a:gd name="T4" fmla="*/ 614 w 4777"/>
                <a:gd name="T5" fmla="*/ 1127 h 4735"/>
                <a:gd name="T6" fmla="*/ 195 w 4777"/>
                <a:gd name="T7" fmla="*/ 1300 h 4735"/>
                <a:gd name="T8" fmla="*/ 242 w 4777"/>
                <a:gd name="T9" fmla="*/ 2025 h 4735"/>
                <a:gd name="T10" fmla="*/ 684 w 4777"/>
                <a:gd name="T11" fmla="*/ 2074 h 4735"/>
                <a:gd name="T12" fmla="*/ 335 w 4777"/>
                <a:gd name="T13" fmla="*/ 1797 h 4735"/>
                <a:gd name="T14" fmla="*/ 423 w 4777"/>
                <a:gd name="T15" fmla="*/ 1394 h 4735"/>
                <a:gd name="T16" fmla="*/ 519 w 4777"/>
                <a:gd name="T17" fmla="*/ 1354 h 4735"/>
                <a:gd name="T18" fmla="*/ 950 w 4777"/>
                <a:gd name="T19" fmla="*/ 1425 h 4735"/>
                <a:gd name="T20" fmla="*/ 1473 w 4777"/>
                <a:gd name="T21" fmla="*/ 799 h 4735"/>
                <a:gd name="T22" fmla="*/ 1396 w 4777"/>
                <a:gd name="T23" fmla="*/ 422 h 4735"/>
                <a:gd name="T24" fmla="*/ 1759 w 4777"/>
                <a:gd name="T25" fmla="*/ 295 h 4735"/>
                <a:gd name="T26" fmla="*/ 1915 w 4777"/>
                <a:gd name="T27" fmla="*/ 617 h 4735"/>
                <a:gd name="T28" fmla="*/ 2727 w 4777"/>
                <a:gd name="T29" fmla="*/ 690 h 4735"/>
                <a:gd name="T30" fmla="*/ 2982 w 4777"/>
                <a:gd name="T31" fmla="*/ 335 h 4735"/>
                <a:gd name="T32" fmla="*/ 3384 w 4777"/>
                <a:gd name="T33" fmla="*/ 423 h 4735"/>
                <a:gd name="T34" fmla="*/ 3424 w 4777"/>
                <a:gd name="T35" fmla="*/ 519 h 4735"/>
                <a:gd name="T36" fmla="*/ 3353 w 4777"/>
                <a:gd name="T37" fmla="*/ 950 h 4735"/>
                <a:gd name="T38" fmla="*/ 3979 w 4777"/>
                <a:gd name="T39" fmla="*/ 1473 h 4735"/>
                <a:gd name="T40" fmla="*/ 4317 w 4777"/>
                <a:gd name="T41" fmla="*/ 1357 h 4735"/>
                <a:gd name="T42" fmla="*/ 4483 w 4777"/>
                <a:gd name="T43" fmla="*/ 1703 h 4735"/>
                <a:gd name="T44" fmla="*/ 4443 w 4777"/>
                <a:gd name="T45" fmla="*/ 1799 h 4735"/>
                <a:gd name="T46" fmla="*/ 4088 w 4777"/>
                <a:gd name="T47" fmla="*/ 2054 h 4735"/>
                <a:gd name="T48" fmla="*/ 4162 w 4777"/>
                <a:gd name="T49" fmla="*/ 2865 h 4735"/>
                <a:gd name="T50" fmla="*/ 4483 w 4777"/>
                <a:gd name="T51" fmla="*/ 3078 h 4735"/>
                <a:gd name="T52" fmla="*/ 4259 w 4777"/>
                <a:gd name="T53" fmla="*/ 3424 h 4735"/>
                <a:gd name="T54" fmla="*/ 3828 w 4777"/>
                <a:gd name="T55" fmla="*/ 3353 h 4735"/>
                <a:gd name="T56" fmla="*/ 3305 w 4777"/>
                <a:gd name="T57" fmla="*/ 3979 h 4735"/>
                <a:gd name="T58" fmla="*/ 3422 w 4777"/>
                <a:gd name="T59" fmla="*/ 4317 h 4735"/>
                <a:gd name="T60" fmla="*/ 3075 w 4777"/>
                <a:gd name="T61" fmla="*/ 4483 h 4735"/>
                <a:gd name="T62" fmla="*/ 2979 w 4777"/>
                <a:gd name="T63" fmla="*/ 4443 h 4735"/>
                <a:gd name="T64" fmla="*/ 2702 w 4777"/>
                <a:gd name="T65" fmla="*/ 4094 h 4735"/>
                <a:gd name="T66" fmla="*/ 2750 w 4777"/>
                <a:gd name="T67" fmla="*/ 4537 h 4735"/>
                <a:gd name="T68" fmla="*/ 3047 w 4777"/>
                <a:gd name="T69" fmla="*/ 4735 h 4735"/>
                <a:gd name="T70" fmla="*/ 3475 w 4777"/>
                <a:gd name="T71" fmla="*/ 4584 h 4735"/>
                <a:gd name="T72" fmla="*/ 3649 w 4777"/>
                <a:gd name="T73" fmla="*/ 4165 h 4735"/>
                <a:gd name="T74" fmla="*/ 3973 w 4777"/>
                <a:gd name="T75" fmla="*/ 3573 h 4735"/>
                <a:gd name="T76" fmla="*/ 4582 w 4777"/>
                <a:gd name="T77" fmla="*/ 3478 h 4735"/>
                <a:gd name="T78" fmla="*/ 4535 w 4777"/>
                <a:gd name="T79" fmla="*/ 2753 h 4735"/>
                <a:gd name="T80" fmla="*/ 4345 w 4777"/>
                <a:gd name="T81" fmla="*/ 2105 h 4735"/>
                <a:gd name="T82" fmla="*/ 4709 w 4777"/>
                <a:gd name="T83" fmla="*/ 1853 h 4735"/>
                <a:gd name="T84" fmla="*/ 4583 w 4777"/>
                <a:gd name="T85" fmla="*/ 1302 h 4735"/>
                <a:gd name="T86" fmla="*/ 4164 w 4777"/>
                <a:gd name="T87" fmla="*/ 1128 h 4735"/>
                <a:gd name="T88" fmla="*/ 3573 w 4777"/>
                <a:gd name="T89" fmla="*/ 804 h 4735"/>
                <a:gd name="T90" fmla="*/ 3652 w 4777"/>
                <a:gd name="T91" fmla="*/ 369 h 4735"/>
                <a:gd name="T92" fmla="*/ 3172 w 4777"/>
                <a:gd name="T93" fmla="*/ 68 h 4735"/>
                <a:gd name="T94" fmla="*/ 2674 w 4777"/>
                <a:gd name="T95" fmla="*/ 432 h 4735"/>
                <a:gd name="T96" fmla="*/ 2026 w 4777"/>
                <a:gd name="T97" fmla="*/ 242 h 4735"/>
                <a:gd name="T98" fmla="*/ 1608 w 4777"/>
                <a:gd name="T99" fmla="*/ 68 h 4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777" h="4735">
                  <a:moveTo>
                    <a:pt x="1608" y="68"/>
                  </a:moveTo>
                  <a:lnTo>
                    <a:pt x="1302" y="194"/>
                  </a:lnTo>
                  <a:cubicBezTo>
                    <a:pt x="1138" y="262"/>
                    <a:pt x="1060" y="450"/>
                    <a:pt x="1128" y="613"/>
                  </a:cubicBezTo>
                  <a:lnTo>
                    <a:pt x="1207" y="803"/>
                  </a:lnTo>
                  <a:cubicBezTo>
                    <a:pt x="1053" y="917"/>
                    <a:pt x="919" y="1052"/>
                    <a:pt x="804" y="1205"/>
                  </a:cubicBezTo>
                  <a:lnTo>
                    <a:pt x="614" y="1127"/>
                  </a:lnTo>
                  <a:cubicBezTo>
                    <a:pt x="535" y="1094"/>
                    <a:pt x="448" y="1094"/>
                    <a:pt x="369" y="1127"/>
                  </a:cubicBezTo>
                  <a:cubicBezTo>
                    <a:pt x="290" y="1159"/>
                    <a:pt x="228" y="1222"/>
                    <a:pt x="195" y="1300"/>
                  </a:cubicBezTo>
                  <a:lnTo>
                    <a:pt x="68" y="1607"/>
                  </a:lnTo>
                  <a:cubicBezTo>
                    <a:pt x="0" y="1770"/>
                    <a:pt x="78" y="1958"/>
                    <a:pt x="242" y="2025"/>
                  </a:cubicBezTo>
                  <a:lnTo>
                    <a:pt x="523" y="2142"/>
                  </a:lnTo>
                  <a:cubicBezTo>
                    <a:pt x="587" y="2168"/>
                    <a:pt x="658" y="2138"/>
                    <a:pt x="684" y="2074"/>
                  </a:cubicBezTo>
                  <a:cubicBezTo>
                    <a:pt x="710" y="2010"/>
                    <a:pt x="680" y="1939"/>
                    <a:pt x="617" y="1913"/>
                  </a:cubicBezTo>
                  <a:lnTo>
                    <a:pt x="335" y="1797"/>
                  </a:lnTo>
                  <a:cubicBezTo>
                    <a:pt x="298" y="1782"/>
                    <a:pt x="280" y="1738"/>
                    <a:pt x="295" y="1700"/>
                  </a:cubicBezTo>
                  <a:lnTo>
                    <a:pt x="423" y="1394"/>
                  </a:lnTo>
                  <a:cubicBezTo>
                    <a:pt x="430" y="1377"/>
                    <a:pt x="444" y="1362"/>
                    <a:pt x="463" y="1354"/>
                  </a:cubicBezTo>
                  <a:cubicBezTo>
                    <a:pt x="480" y="1347"/>
                    <a:pt x="500" y="1347"/>
                    <a:pt x="519" y="1354"/>
                  </a:cubicBezTo>
                  <a:lnTo>
                    <a:pt x="800" y="1470"/>
                  </a:lnTo>
                  <a:cubicBezTo>
                    <a:pt x="855" y="1493"/>
                    <a:pt x="918" y="1474"/>
                    <a:pt x="950" y="1425"/>
                  </a:cubicBezTo>
                  <a:cubicBezTo>
                    <a:pt x="1077" y="1235"/>
                    <a:pt x="1237" y="1075"/>
                    <a:pt x="1427" y="949"/>
                  </a:cubicBezTo>
                  <a:cubicBezTo>
                    <a:pt x="1475" y="917"/>
                    <a:pt x="1495" y="853"/>
                    <a:pt x="1473" y="799"/>
                  </a:cubicBezTo>
                  <a:lnTo>
                    <a:pt x="1357" y="518"/>
                  </a:lnTo>
                  <a:cubicBezTo>
                    <a:pt x="1342" y="480"/>
                    <a:pt x="1359" y="438"/>
                    <a:pt x="1396" y="422"/>
                  </a:cubicBezTo>
                  <a:lnTo>
                    <a:pt x="1703" y="295"/>
                  </a:lnTo>
                  <a:cubicBezTo>
                    <a:pt x="1720" y="288"/>
                    <a:pt x="1740" y="288"/>
                    <a:pt x="1759" y="295"/>
                  </a:cubicBezTo>
                  <a:cubicBezTo>
                    <a:pt x="1776" y="303"/>
                    <a:pt x="1791" y="317"/>
                    <a:pt x="1799" y="335"/>
                  </a:cubicBezTo>
                  <a:lnTo>
                    <a:pt x="1915" y="617"/>
                  </a:lnTo>
                  <a:cubicBezTo>
                    <a:pt x="1938" y="672"/>
                    <a:pt x="1995" y="703"/>
                    <a:pt x="2054" y="690"/>
                  </a:cubicBezTo>
                  <a:cubicBezTo>
                    <a:pt x="2276" y="645"/>
                    <a:pt x="2504" y="647"/>
                    <a:pt x="2727" y="690"/>
                  </a:cubicBezTo>
                  <a:cubicBezTo>
                    <a:pt x="2784" y="702"/>
                    <a:pt x="2843" y="670"/>
                    <a:pt x="2865" y="617"/>
                  </a:cubicBezTo>
                  <a:lnTo>
                    <a:pt x="2982" y="335"/>
                  </a:lnTo>
                  <a:cubicBezTo>
                    <a:pt x="2997" y="298"/>
                    <a:pt x="3040" y="280"/>
                    <a:pt x="3078" y="295"/>
                  </a:cubicBezTo>
                  <a:lnTo>
                    <a:pt x="3384" y="423"/>
                  </a:lnTo>
                  <a:cubicBezTo>
                    <a:pt x="3402" y="430"/>
                    <a:pt x="3417" y="444"/>
                    <a:pt x="3424" y="463"/>
                  </a:cubicBezTo>
                  <a:cubicBezTo>
                    <a:pt x="3432" y="480"/>
                    <a:pt x="3432" y="500"/>
                    <a:pt x="3424" y="519"/>
                  </a:cubicBezTo>
                  <a:lnTo>
                    <a:pt x="3308" y="800"/>
                  </a:lnTo>
                  <a:cubicBezTo>
                    <a:pt x="3285" y="855"/>
                    <a:pt x="3304" y="918"/>
                    <a:pt x="3353" y="950"/>
                  </a:cubicBezTo>
                  <a:cubicBezTo>
                    <a:pt x="3543" y="1077"/>
                    <a:pt x="3703" y="1237"/>
                    <a:pt x="3829" y="1427"/>
                  </a:cubicBezTo>
                  <a:cubicBezTo>
                    <a:pt x="3862" y="1475"/>
                    <a:pt x="3925" y="1495"/>
                    <a:pt x="3979" y="1473"/>
                  </a:cubicBezTo>
                  <a:lnTo>
                    <a:pt x="4260" y="1357"/>
                  </a:lnTo>
                  <a:cubicBezTo>
                    <a:pt x="4279" y="1349"/>
                    <a:pt x="4298" y="1349"/>
                    <a:pt x="4317" y="1357"/>
                  </a:cubicBezTo>
                  <a:cubicBezTo>
                    <a:pt x="4334" y="1364"/>
                    <a:pt x="4349" y="1378"/>
                    <a:pt x="4357" y="1397"/>
                  </a:cubicBezTo>
                  <a:lnTo>
                    <a:pt x="4483" y="1703"/>
                  </a:lnTo>
                  <a:cubicBezTo>
                    <a:pt x="4490" y="1720"/>
                    <a:pt x="4490" y="1740"/>
                    <a:pt x="4483" y="1759"/>
                  </a:cubicBezTo>
                  <a:cubicBezTo>
                    <a:pt x="4475" y="1777"/>
                    <a:pt x="4462" y="1792"/>
                    <a:pt x="4443" y="1799"/>
                  </a:cubicBezTo>
                  <a:lnTo>
                    <a:pt x="4162" y="1915"/>
                  </a:lnTo>
                  <a:cubicBezTo>
                    <a:pt x="4107" y="1938"/>
                    <a:pt x="4077" y="1995"/>
                    <a:pt x="4088" y="2054"/>
                  </a:cubicBezTo>
                  <a:cubicBezTo>
                    <a:pt x="4133" y="2277"/>
                    <a:pt x="4132" y="2504"/>
                    <a:pt x="4088" y="2727"/>
                  </a:cubicBezTo>
                  <a:cubicBezTo>
                    <a:pt x="4077" y="2784"/>
                    <a:pt x="4108" y="2843"/>
                    <a:pt x="4162" y="2865"/>
                  </a:cubicBezTo>
                  <a:lnTo>
                    <a:pt x="4443" y="2982"/>
                  </a:lnTo>
                  <a:cubicBezTo>
                    <a:pt x="4480" y="2997"/>
                    <a:pt x="4498" y="3040"/>
                    <a:pt x="4483" y="3078"/>
                  </a:cubicBezTo>
                  <a:lnTo>
                    <a:pt x="4355" y="3384"/>
                  </a:lnTo>
                  <a:cubicBezTo>
                    <a:pt x="4340" y="3422"/>
                    <a:pt x="4297" y="3439"/>
                    <a:pt x="4259" y="3424"/>
                  </a:cubicBezTo>
                  <a:lnTo>
                    <a:pt x="3978" y="3308"/>
                  </a:lnTo>
                  <a:cubicBezTo>
                    <a:pt x="3923" y="3285"/>
                    <a:pt x="3860" y="3304"/>
                    <a:pt x="3828" y="3353"/>
                  </a:cubicBezTo>
                  <a:cubicBezTo>
                    <a:pt x="3702" y="3543"/>
                    <a:pt x="3542" y="3703"/>
                    <a:pt x="3352" y="3829"/>
                  </a:cubicBezTo>
                  <a:cubicBezTo>
                    <a:pt x="3303" y="3862"/>
                    <a:pt x="3283" y="3925"/>
                    <a:pt x="3305" y="3979"/>
                  </a:cubicBezTo>
                  <a:lnTo>
                    <a:pt x="3422" y="4260"/>
                  </a:lnTo>
                  <a:cubicBezTo>
                    <a:pt x="3429" y="4278"/>
                    <a:pt x="3429" y="4298"/>
                    <a:pt x="3422" y="4317"/>
                  </a:cubicBezTo>
                  <a:cubicBezTo>
                    <a:pt x="3414" y="4334"/>
                    <a:pt x="3400" y="4349"/>
                    <a:pt x="3382" y="4357"/>
                  </a:cubicBezTo>
                  <a:lnTo>
                    <a:pt x="3075" y="4483"/>
                  </a:lnTo>
                  <a:cubicBezTo>
                    <a:pt x="3058" y="4490"/>
                    <a:pt x="3038" y="4490"/>
                    <a:pt x="3019" y="4483"/>
                  </a:cubicBezTo>
                  <a:cubicBezTo>
                    <a:pt x="3002" y="4475"/>
                    <a:pt x="2987" y="4462"/>
                    <a:pt x="2979" y="4443"/>
                  </a:cubicBezTo>
                  <a:lnTo>
                    <a:pt x="2863" y="4162"/>
                  </a:lnTo>
                  <a:cubicBezTo>
                    <a:pt x="2837" y="4098"/>
                    <a:pt x="2764" y="4068"/>
                    <a:pt x="2702" y="4094"/>
                  </a:cubicBezTo>
                  <a:cubicBezTo>
                    <a:pt x="2638" y="4120"/>
                    <a:pt x="2608" y="4193"/>
                    <a:pt x="2634" y="4255"/>
                  </a:cubicBezTo>
                  <a:lnTo>
                    <a:pt x="2750" y="4537"/>
                  </a:lnTo>
                  <a:cubicBezTo>
                    <a:pt x="2783" y="4615"/>
                    <a:pt x="2845" y="4678"/>
                    <a:pt x="2924" y="4710"/>
                  </a:cubicBezTo>
                  <a:cubicBezTo>
                    <a:pt x="2964" y="4727"/>
                    <a:pt x="3005" y="4735"/>
                    <a:pt x="3047" y="4735"/>
                  </a:cubicBezTo>
                  <a:cubicBezTo>
                    <a:pt x="3088" y="4735"/>
                    <a:pt x="3130" y="4727"/>
                    <a:pt x="3169" y="4710"/>
                  </a:cubicBezTo>
                  <a:lnTo>
                    <a:pt x="3475" y="4584"/>
                  </a:lnTo>
                  <a:cubicBezTo>
                    <a:pt x="3554" y="4552"/>
                    <a:pt x="3617" y="4489"/>
                    <a:pt x="3649" y="4410"/>
                  </a:cubicBezTo>
                  <a:cubicBezTo>
                    <a:pt x="3682" y="4332"/>
                    <a:pt x="3682" y="4244"/>
                    <a:pt x="3649" y="4165"/>
                  </a:cubicBezTo>
                  <a:lnTo>
                    <a:pt x="3570" y="3975"/>
                  </a:lnTo>
                  <a:cubicBezTo>
                    <a:pt x="3724" y="3862"/>
                    <a:pt x="3858" y="3727"/>
                    <a:pt x="3973" y="3573"/>
                  </a:cubicBezTo>
                  <a:lnTo>
                    <a:pt x="4163" y="3652"/>
                  </a:lnTo>
                  <a:cubicBezTo>
                    <a:pt x="4327" y="3719"/>
                    <a:pt x="4514" y="3642"/>
                    <a:pt x="4582" y="3478"/>
                  </a:cubicBezTo>
                  <a:lnTo>
                    <a:pt x="4709" y="3172"/>
                  </a:lnTo>
                  <a:cubicBezTo>
                    <a:pt x="4777" y="3008"/>
                    <a:pt x="4699" y="2820"/>
                    <a:pt x="4535" y="2753"/>
                  </a:cubicBezTo>
                  <a:lnTo>
                    <a:pt x="4345" y="2674"/>
                  </a:lnTo>
                  <a:cubicBezTo>
                    <a:pt x="4373" y="2485"/>
                    <a:pt x="4373" y="2294"/>
                    <a:pt x="4345" y="2105"/>
                  </a:cubicBezTo>
                  <a:lnTo>
                    <a:pt x="4535" y="2027"/>
                  </a:lnTo>
                  <a:cubicBezTo>
                    <a:pt x="4614" y="1994"/>
                    <a:pt x="4677" y="1932"/>
                    <a:pt x="4709" y="1853"/>
                  </a:cubicBezTo>
                  <a:cubicBezTo>
                    <a:pt x="4742" y="1774"/>
                    <a:pt x="4742" y="1687"/>
                    <a:pt x="4709" y="1608"/>
                  </a:cubicBezTo>
                  <a:lnTo>
                    <a:pt x="4583" y="1302"/>
                  </a:lnTo>
                  <a:cubicBezTo>
                    <a:pt x="4550" y="1223"/>
                    <a:pt x="4488" y="1160"/>
                    <a:pt x="4409" y="1128"/>
                  </a:cubicBezTo>
                  <a:cubicBezTo>
                    <a:pt x="4330" y="1095"/>
                    <a:pt x="4243" y="1095"/>
                    <a:pt x="4164" y="1128"/>
                  </a:cubicBezTo>
                  <a:lnTo>
                    <a:pt x="3974" y="1207"/>
                  </a:lnTo>
                  <a:cubicBezTo>
                    <a:pt x="3860" y="1053"/>
                    <a:pt x="3725" y="918"/>
                    <a:pt x="3573" y="804"/>
                  </a:cubicBezTo>
                  <a:lnTo>
                    <a:pt x="3652" y="614"/>
                  </a:lnTo>
                  <a:cubicBezTo>
                    <a:pt x="3684" y="535"/>
                    <a:pt x="3684" y="448"/>
                    <a:pt x="3652" y="369"/>
                  </a:cubicBezTo>
                  <a:cubicBezTo>
                    <a:pt x="3619" y="290"/>
                    <a:pt x="3557" y="228"/>
                    <a:pt x="3478" y="195"/>
                  </a:cubicBezTo>
                  <a:lnTo>
                    <a:pt x="3172" y="68"/>
                  </a:lnTo>
                  <a:cubicBezTo>
                    <a:pt x="3008" y="0"/>
                    <a:pt x="2820" y="78"/>
                    <a:pt x="2753" y="242"/>
                  </a:cubicBezTo>
                  <a:lnTo>
                    <a:pt x="2674" y="432"/>
                  </a:lnTo>
                  <a:cubicBezTo>
                    <a:pt x="2485" y="404"/>
                    <a:pt x="2294" y="404"/>
                    <a:pt x="2105" y="432"/>
                  </a:cubicBezTo>
                  <a:lnTo>
                    <a:pt x="2026" y="242"/>
                  </a:lnTo>
                  <a:cubicBezTo>
                    <a:pt x="1994" y="163"/>
                    <a:pt x="1931" y="100"/>
                    <a:pt x="1853" y="68"/>
                  </a:cubicBezTo>
                  <a:cubicBezTo>
                    <a:pt x="1774" y="35"/>
                    <a:pt x="1687" y="35"/>
                    <a:pt x="1608" y="6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514419">
                <a:defRPr/>
              </a:pPr>
              <a:endParaRPr lang="en-US" sz="10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Freeform 24">
              <a:extLst>
                <a:ext uri="{FF2B5EF4-FFF2-40B4-BE49-F238E27FC236}">
                  <a16:creationId xmlns:a16="http://schemas.microsoft.com/office/drawing/2014/main" id="{B752465E-030D-44FC-BB17-B8A6C19ADB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1038" y="1527175"/>
              <a:ext cx="2254250" cy="2246313"/>
            </a:xfrm>
            <a:custGeom>
              <a:avLst/>
              <a:gdLst>
                <a:gd name="T0" fmla="*/ 2015 w 2019"/>
                <a:gd name="T1" fmla="*/ 999 h 2012"/>
                <a:gd name="T2" fmla="*/ 1009 w 2019"/>
                <a:gd name="T3" fmla="*/ 0 h 2012"/>
                <a:gd name="T4" fmla="*/ 1001 w 2019"/>
                <a:gd name="T5" fmla="*/ 0 h 2012"/>
                <a:gd name="T6" fmla="*/ 291 w 2019"/>
                <a:gd name="T7" fmla="*/ 300 h 2012"/>
                <a:gd name="T8" fmla="*/ 1 w 2019"/>
                <a:gd name="T9" fmla="*/ 1014 h 2012"/>
                <a:gd name="T10" fmla="*/ 125 w 2019"/>
                <a:gd name="T11" fmla="*/ 1136 h 2012"/>
                <a:gd name="T12" fmla="*/ 126 w 2019"/>
                <a:gd name="T13" fmla="*/ 1136 h 2012"/>
                <a:gd name="T14" fmla="*/ 249 w 2019"/>
                <a:gd name="T15" fmla="*/ 1011 h 2012"/>
                <a:gd name="T16" fmla="*/ 468 w 2019"/>
                <a:gd name="T17" fmla="*/ 472 h 2012"/>
                <a:gd name="T18" fmla="*/ 1003 w 2019"/>
                <a:gd name="T19" fmla="*/ 246 h 2012"/>
                <a:gd name="T20" fmla="*/ 1008 w 2019"/>
                <a:gd name="T21" fmla="*/ 246 h 2012"/>
                <a:gd name="T22" fmla="*/ 1766 w 2019"/>
                <a:gd name="T23" fmla="*/ 1000 h 2012"/>
                <a:gd name="T24" fmla="*/ 1013 w 2019"/>
                <a:gd name="T25" fmla="*/ 1765 h 2012"/>
                <a:gd name="T26" fmla="*/ 890 w 2019"/>
                <a:gd name="T27" fmla="*/ 1890 h 2012"/>
                <a:gd name="T28" fmla="*/ 1014 w 2019"/>
                <a:gd name="T29" fmla="*/ 2012 h 2012"/>
                <a:gd name="T30" fmla="*/ 1015 w 2019"/>
                <a:gd name="T31" fmla="*/ 2012 h 2012"/>
                <a:gd name="T32" fmla="*/ 2015 w 2019"/>
                <a:gd name="T33" fmla="*/ 999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19" h="2012">
                  <a:moveTo>
                    <a:pt x="2015" y="999"/>
                  </a:moveTo>
                  <a:cubicBezTo>
                    <a:pt x="2012" y="446"/>
                    <a:pt x="1560" y="0"/>
                    <a:pt x="1009" y="0"/>
                  </a:cubicBezTo>
                  <a:lnTo>
                    <a:pt x="1001" y="0"/>
                  </a:lnTo>
                  <a:cubicBezTo>
                    <a:pt x="733" y="2"/>
                    <a:pt x="480" y="109"/>
                    <a:pt x="291" y="300"/>
                  </a:cubicBezTo>
                  <a:cubicBezTo>
                    <a:pt x="103" y="491"/>
                    <a:pt x="0" y="745"/>
                    <a:pt x="1" y="1014"/>
                  </a:cubicBezTo>
                  <a:cubicBezTo>
                    <a:pt x="1" y="1081"/>
                    <a:pt x="58" y="1136"/>
                    <a:pt x="125" y="1136"/>
                  </a:cubicBezTo>
                  <a:lnTo>
                    <a:pt x="126" y="1136"/>
                  </a:lnTo>
                  <a:cubicBezTo>
                    <a:pt x="195" y="1136"/>
                    <a:pt x="250" y="1080"/>
                    <a:pt x="249" y="1011"/>
                  </a:cubicBezTo>
                  <a:cubicBezTo>
                    <a:pt x="248" y="809"/>
                    <a:pt x="325" y="617"/>
                    <a:pt x="468" y="472"/>
                  </a:cubicBezTo>
                  <a:cubicBezTo>
                    <a:pt x="610" y="327"/>
                    <a:pt x="800" y="247"/>
                    <a:pt x="1003" y="246"/>
                  </a:cubicBezTo>
                  <a:lnTo>
                    <a:pt x="1008" y="246"/>
                  </a:lnTo>
                  <a:cubicBezTo>
                    <a:pt x="1424" y="246"/>
                    <a:pt x="1764" y="584"/>
                    <a:pt x="1766" y="1000"/>
                  </a:cubicBezTo>
                  <a:cubicBezTo>
                    <a:pt x="1769" y="1419"/>
                    <a:pt x="1431" y="1761"/>
                    <a:pt x="1013" y="1765"/>
                  </a:cubicBezTo>
                  <a:cubicBezTo>
                    <a:pt x="944" y="1765"/>
                    <a:pt x="889" y="1821"/>
                    <a:pt x="890" y="1890"/>
                  </a:cubicBezTo>
                  <a:cubicBezTo>
                    <a:pt x="890" y="1957"/>
                    <a:pt x="946" y="2012"/>
                    <a:pt x="1014" y="2012"/>
                  </a:cubicBezTo>
                  <a:lnTo>
                    <a:pt x="1015" y="2012"/>
                  </a:lnTo>
                  <a:cubicBezTo>
                    <a:pt x="1572" y="2009"/>
                    <a:pt x="2019" y="1554"/>
                    <a:pt x="2015" y="9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514419">
                <a:defRPr/>
              </a:pPr>
              <a:endParaRPr lang="en-US" sz="10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reeform 25">
              <a:extLst>
                <a:ext uri="{FF2B5EF4-FFF2-40B4-BE49-F238E27FC236}">
                  <a16:creationId xmlns:a16="http://schemas.microsoft.com/office/drawing/2014/main" id="{8725C7F5-753F-4F13-BD0B-A0FD55B71D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67000" y="2762250"/>
              <a:ext cx="4046538" cy="4046538"/>
            </a:xfrm>
            <a:custGeom>
              <a:avLst/>
              <a:gdLst>
                <a:gd name="T0" fmla="*/ 1933 w 3624"/>
                <a:gd name="T1" fmla="*/ 3624 h 3624"/>
                <a:gd name="T2" fmla="*/ 2200 w 3624"/>
                <a:gd name="T3" fmla="*/ 3233 h 3624"/>
                <a:gd name="T4" fmla="*/ 2630 w 3624"/>
                <a:gd name="T5" fmla="*/ 3178 h 3624"/>
                <a:gd name="T6" fmla="*/ 3008 w 3624"/>
                <a:gd name="T7" fmla="*/ 3178 h 3624"/>
                <a:gd name="T8" fmla="*/ 3256 w 3624"/>
                <a:gd name="T9" fmla="*/ 2819 h 3624"/>
                <a:gd name="T10" fmla="*/ 3090 w 3624"/>
                <a:gd name="T11" fmla="*/ 2543 h 3624"/>
                <a:gd name="T12" fmla="*/ 3356 w 3624"/>
                <a:gd name="T13" fmla="*/ 2200 h 3624"/>
                <a:gd name="T14" fmla="*/ 3624 w 3624"/>
                <a:gd name="T15" fmla="*/ 1691 h 3624"/>
                <a:gd name="T16" fmla="*/ 3232 w 3624"/>
                <a:gd name="T17" fmla="*/ 1424 h 3624"/>
                <a:gd name="T18" fmla="*/ 3177 w 3624"/>
                <a:gd name="T19" fmla="*/ 994 h 3624"/>
                <a:gd name="T20" fmla="*/ 3177 w 3624"/>
                <a:gd name="T21" fmla="*/ 616 h 3624"/>
                <a:gd name="T22" fmla="*/ 2819 w 3624"/>
                <a:gd name="T23" fmla="*/ 368 h 3624"/>
                <a:gd name="T24" fmla="*/ 2542 w 3624"/>
                <a:gd name="T25" fmla="*/ 534 h 3624"/>
                <a:gd name="T26" fmla="*/ 2200 w 3624"/>
                <a:gd name="T27" fmla="*/ 268 h 3624"/>
                <a:gd name="T28" fmla="*/ 1691 w 3624"/>
                <a:gd name="T29" fmla="*/ 0 h 3624"/>
                <a:gd name="T30" fmla="*/ 1424 w 3624"/>
                <a:gd name="T31" fmla="*/ 391 h 3624"/>
                <a:gd name="T32" fmla="*/ 994 w 3624"/>
                <a:gd name="T33" fmla="*/ 446 h 3624"/>
                <a:gd name="T34" fmla="*/ 616 w 3624"/>
                <a:gd name="T35" fmla="*/ 446 h 3624"/>
                <a:gd name="T36" fmla="*/ 446 w 3624"/>
                <a:gd name="T37" fmla="*/ 994 h 3624"/>
                <a:gd name="T38" fmla="*/ 391 w 3624"/>
                <a:gd name="T39" fmla="*/ 1424 h 3624"/>
                <a:gd name="T40" fmla="*/ 0 w 3624"/>
                <a:gd name="T41" fmla="*/ 1691 h 3624"/>
                <a:gd name="T42" fmla="*/ 267 w 3624"/>
                <a:gd name="T43" fmla="*/ 2200 h 3624"/>
                <a:gd name="T44" fmla="*/ 534 w 3624"/>
                <a:gd name="T45" fmla="*/ 2543 h 3624"/>
                <a:gd name="T46" fmla="*/ 446 w 3624"/>
                <a:gd name="T47" fmla="*/ 3008 h 3624"/>
                <a:gd name="T48" fmla="*/ 805 w 3624"/>
                <a:gd name="T49" fmla="*/ 3256 h 3624"/>
                <a:gd name="T50" fmla="*/ 1081 w 3624"/>
                <a:gd name="T51" fmla="*/ 3090 h 3624"/>
                <a:gd name="T52" fmla="*/ 1424 w 3624"/>
                <a:gd name="T53" fmla="*/ 3356 h 3624"/>
                <a:gd name="T54" fmla="*/ 1133 w 3624"/>
                <a:gd name="T55" fmla="*/ 2831 h 3624"/>
                <a:gd name="T56" fmla="*/ 976 w 3624"/>
                <a:gd name="T57" fmla="*/ 2846 h 3624"/>
                <a:gd name="T58" fmla="*/ 806 w 3624"/>
                <a:gd name="T59" fmla="*/ 3009 h 3624"/>
                <a:gd name="T60" fmla="*/ 623 w 3624"/>
                <a:gd name="T61" fmla="*/ 2833 h 3624"/>
                <a:gd name="T62" fmla="*/ 779 w 3624"/>
                <a:gd name="T63" fmla="*/ 2649 h 3624"/>
                <a:gd name="T64" fmla="*/ 611 w 3624"/>
                <a:gd name="T65" fmla="*/ 2053 h 3624"/>
                <a:gd name="T66" fmla="*/ 269 w 3624"/>
                <a:gd name="T67" fmla="*/ 1953 h 3624"/>
                <a:gd name="T68" fmla="*/ 249 w 3624"/>
                <a:gd name="T69" fmla="*/ 1691 h 3624"/>
                <a:gd name="T70" fmla="*/ 490 w 3624"/>
                <a:gd name="T71" fmla="*/ 1671 h 3624"/>
                <a:gd name="T72" fmla="*/ 794 w 3624"/>
                <a:gd name="T73" fmla="*/ 1131 h 3624"/>
                <a:gd name="T74" fmla="*/ 623 w 3624"/>
                <a:gd name="T75" fmla="*/ 819 h 3624"/>
                <a:gd name="T76" fmla="*/ 793 w 3624"/>
                <a:gd name="T77" fmla="*/ 621 h 3624"/>
                <a:gd name="T78" fmla="*/ 820 w 3624"/>
                <a:gd name="T79" fmla="*/ 621 h 3624"/>
                <a:gd name="T80" fmla="*/ 1133 w 3624"/>
                <a:gd name="T81" fmla="*/ 795 h 3624"/>
                <a:gd name="T82" fmla="*/ 1673 w 3624"/>
                <a:gd name="T83" fmla="*/ 491 h 3624"/>
                <a:gd name="T84" fmla="*/ 1693 w 3624"/>
                <a:gd name="T85" fmla="*/ 250 h 3624"/>
                <a:gd name="T86" fmla="*/ 1954 w 3624"/>
                <a:gd name="T87" fmla="*/ 270 h 3624"/>
                <a:gd name="T88" fmla="*/ 2054 w 3624"/>
                <a:gd name="T89" fmla="*/ 613 h 3624"/>
                <a:gd name="T90" fmla="*/ 2650 w 3624"/>
                <a:gd name="T91" fmla="*/ 780 h 3624"/>
                <a:gd name="T92" fmla="*/ 2820 w 3624"/>
                <a:gd name="T93" fmla="*/ 618 h 3624"/>
                <a:gd name="T94" fmla="*/ 3004 w 3624"/>
                <a:gd name="T95" fmla="*/ 794 h 3624"/>
                <a:gd name="T96" fmla="*/ 3004 w 3624"/>
                <a:gd name="T97" fmla="*/ 821 h 3624"/>
                <a:gd name="T98" fmla="*/ 2833 w 3624"/>
                <a:gd name="T99" fmla="*/ 1134 h 3624"/>
                <a:gd name="T100" fmla="*/ 3136 w 3624"/>
                <a:gd name="T101" fmla="*/ 1674 h 3624"/>
                <a:gd name="T102" fmla="*/ 3378 w 3624"/>
                <a:gd name="T103" fmla="*/ 1694 h 3624"/>
                <a:gd name="T104" fmla="*/ 3357 w 3624"/>
                <a:gd name="T105" fmla="*/ 1955 h 3624"/>
                <a:gd name="T106" fmla="*/ 3015 w 3624"/>
                <a:gd name="T107" fmla="*/ 2055 h 3624"/>
                <a:gd name="T108" fmla="*/ 2848 w 3624"/>
                <a:gd name="T109" fmla="*/ 2651 h 3624"/>
                <a:gd name="T110" fmla="*/ 3010 w 3624"/>
                <a:gd name="T111" fmla="*/ 2821 h 3624"/>
                <a:gd name="T112" fmla="*/ 2834 w 3624"/>
                <a:gd name="T113" fmla="*/ 3005 h 3624"/>
                <a:gd name="T114" fmla="*/ 2806 w 3624"/>
                <a:gd name="T115" fmla="*/ 3005 h 3624"/>
                <a:gd name="T116" fmla="*/ 2494 w 3624"/>
                <a:gd name="T117" fmla="*/ 2834 h 3624"/>
                <a:gd name="T118" fmla="*/ 1954 w 3624"/>
                <a:gd name="T119" fmla="*/ 3138 h 3624"/>
                <a:gd name="T120" fmla="*/ 1934 w 3624"/>
                <a:gd name="T121" fmla="*/ 3379 h 3624"/>
                <a:gd name="T122" fmla="*/ 1673 w 3624"/>
                <a:gd name="T123" fmla="*/ 3359 h 3624"/>
                <a:gd name="T124" fmla="*/ 1573 w 3624"/>
                <a:gd name="T125" fmla="*/ 3016 h 3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24" h="3624">
                  <a:moveTo>
                    <a:pt x="1691" y="3624"/>
                  </a:moveTo>
                  <a:lnTo>
                    <a:pt x="1933" y="3624"/>
                  </a:lnTo>
                  <a:cubicBezTo>
                    <a:pt x="2080" y="3624"/>
                    <a:pt x="2200" y="3504"/>
                    <a:pt x="2200" y="3356"/>
                  </a:cubicBezTo>
                  <a:lnTo>
                    <a:pt x="2200" y="3233"/>
                  </a:lnTo>
                  <a:cubicBezTo>
                    <a:pt x="2320" y="3200"/>
                    <a:pt x="2435" y="3153"/>
                    <a:pt x="2543" y="3090"/>
                  </a:cubicBezTo>
                  <a:lnTo>
                    <a:pt x="2630" y="3178"/>
                  </a:lnTo>
                  <a:cubicBezTo>
                    <a:pt x="2680" y="3228"/>
                    <a:pt x="2748" y="3256"/>
                    <a:pt x="2819" y="3256"/>
                  </a:cubicBezTo>
                  <a:cubicBezTo>
                    <a:pt x="2890" y="3256"/>
                    <a:pt x="2958" y="3229"/>
                    <a:pt x="3008" y="3178"/>
                  </a:cubicBezTo>
                  <a:lnTo>
                    <a:pt x="3178" y="3008"/>
                  </a:lnTo>
                  <a:cubicBezTo>
                    <a:pt x="3228" y="2958"/>
                    <a:pt x="3256" y="2890"/>
                    <a:pt x="3256" y="2819"/>
                  </a:cubicBezTo>
                  <a:cubicBezTo>
                    <a:pt x="3256" y="2748"/>
                    <a:pt x="3229" y="2680"/>
                    <a:pt x="3178" y="2630"/>
                  </a:cubicBezTo>
                  <a:lnTo>
                    <a:pt x="3090" y="2543"/>
                  </a:lnTo>
                  <a:cubicBezTo>
                    <a:pt x="3153" y="2435"/>
                    <a:pt x="3200" y="2320"/>
                    <a:pt x="3232" y="2200"/>
                  </a:cubicBezTo>
                  <a:lnTo>
                    <a:pt x="3356" y="2200"/>
                  </a:lnTo>
                  <a:cubicBezTo>
                    <a:pt x="3504" y="2200"/>
                    <a:pt x="3624" y="2080"/>
                    <a:pt x="3624" y="1933"/>
                  </a:cubicBezTo>
                  <a:lnTo>
                    <a:pt x="3624" y="1691"/>
                  </a:lnTo>
                  <a:cubicBezTo>
                    <a:pt x="3624" y="1544"/>
                    <a:pt x="3504" y="1424"/>
                    <a:pt x="3356" y="1424"/>
                  </a:cubicBezTo>
                  <a:lnTo>
                    <a:pt x="3232" y="1424"/>
                  </a:lnTo>
                  <a:cubicBezTo>
                    <a:pt x="3200" y="1304"/>
                    <a:pt x="3152" y="1189"/>
                    <a:pt x="3090" y="1081"/>
                  </a:cubicBezTo>
                  <a:lnTo>
                    <a:pt x="3177" y="994"/>
                  </a:lnTo>
                  <a:cubicBezTo>
                    <a:pt x="3227" y="944"/>
                    <a:pt x="3256" y="876"/>
                    <a:pt x="3256" y="805"/>
                  </a:cubicBezTo>
                  <a:cubicBezTo>
                    <a:pt x="3256" y="734"/>
                    <a:pt x="3229" y="666"/>
                    <a:pt x="3177" y="616"/>
                  </a:cubicBezTo>
                  <a:lnTo>
                    <a:pt x="3007" y="446"/>
                  </a:lnTo>
                  <a:cubicBezTo>
                    <a:pt x="2957" y="396"/>
                    <a:pt x="2890" y="368"/>
                    <a:pt x="2819" y="368"/>
                  </a:cubicBezTo>
                  <a:cubicBezTo>
                    <a:pt x="2747" y="368"/>
                    <a:pt x="2680" y="395"/>
                    <a:pt x="2630" y="446"/>
                  </a:cubicBezTo>
                  <a:lnTo>
                    <a:pt x="2542" y="534"/>
                  </a:lnTo>
                  <a:cubicBezTo>
                    <a:pt x="2435" y="471"/>
                    <a:pt x="2320" y="424"/>
                    <a:pt x="2200" y="391"/>
                  </a:cubicBezTo>
                  <a:lnTo>
                    <a:pt x="2200" y="268"/>
                  </a:lnTo>
                  <a:cubicBezTo>
                    <a:pt x="2200" y="120"/>
                    <a:pt x="2080" y="0"/>
                    <a:pt x="1932" y="0"/>
                  </a:cubicBezTo>
                  <a:lnTo>
                    <a:pt x="1691" y="0"/>
                  </a:lnTo>
                  <a:cubicBezTo>
                    <a:pt x="1544" y="0"/>
                    <a:pt x="1424" y="120"/>
                    <a:pt x="1424" y="268"/>
                  </a:cubicBezTo>
                  <a:lnTo>
                    <a:pt x="1424" y="391"/>
                  </a:lnTo>
                  <a:cubicBezTo>
                    <a:pt x="1304" y="424"/>
                    <a:pt x="1189" y="471"/>
                    <a:pt x="1081" y="534"/>
                  </a:cubicBezTo>
                  <a:lnTo>
                    <a:pt x="994" y="446"/>
                  </a:lnTo>
                  <a:cubicBezTo>
                    <a:pt x="944" y="396"/>
                    <a:pt x="876" y="368"/>
                    <a:pt x="805" y="368"/>
                  </a:cubicBezTo>
                  <a:cubicBezTo>
                    <a:pt x="734" y="368"/>
                    <a:pt x="666" y="395"/>
                    <a:pt x="616" y="446"/>
                  </a:cubicBezTo>
                  <a:lnTo>
                    <a:pt x="446" y="616"/>
                  </a:lnTo>
                  <a:cubicBezTo>
                    <a:pt x="342" y="720"/>
                    <a:pt x="342" y="890"/>
                    <a:pt x="446" y="994"/>
                  </a:cubicBezTo>
                  <a:lnTo>
                    <a:pt x="534" y="1081"/>
                  </a:lnTo>
                  <a:cubicBezTo>
                    <a:pt x="471" y="1189"/>
                    <a:pt x="424" y="1304"/>
                    <a:pt x="391" y="1424"/>
                  </a:cubicBezTo>
                  <a:lnTo>
                    <a:pt x="267" y="1424"/>
                  </a:lnTo>
                  <a:cubicBezTo>
                    <a:pt x="120" y="1424"/>
                    <a:pt x="0" y="1544"/>
                    <a:pt x="0" y="1691"/>
                  </a:cubicBezTo>
                  <a:lnTo>
                    <a:pt x="0" y="1933"/>
                  </a:lnTo>
                  <a:cubicBezTo>
                    <a:pt x="0" y="2080"/>
                    <a:pt x="120" y="2200"/>
                    <a:pt x="267" y="2200"/>
                  </a:cubicBezTo>
                  <a:lnTo>
                    <a:pt x="391" y="2200"/>
                  </a:lnTo>
                  <a:cubicBezTo>
                    <a:pt x="424" y="2320"/>
                    <a:pt x="471" y="2435"/>
                    <a:pt x="534" y="2543"/>
                  </a:cubicBezTo>
                  <a:lnTo>
                    <a:pt x="446" y="2630"/>
                  </a:lnTo>
                  <a:cubicBezTo>
                    <a:pt x="342" y="2734"/>
                    <a:pt x="342" y="2904"/>
                    <a:pt x="446" y="3008"/>
                  </a:cubicBezTo>
                  <a:lnTo>
                    <a:pt x="616" y="3178"/>
                  </a:lnTo>
                  <a:cubicBezTo>
                    <a:pt x="666" y="3228"/>
                    <a:pt x="734" y="3256"/>
                    <a:pt x="805" y="3256"/>
                  </a:cubicBezTo>
                  <a:cubicBezTo>
                    <a:pt x="876" y="3256"/>
                    <a:pt x="944" y="3229"/>
                    <a:pt x="994" y="3178"/>
                  </a:cubicBezTo>
                  <a:lnTo>
                    <a:pt x="1081" y="3090"/>
                  </a:lnTo>
                  <a:cubicBezTo>
                    <a:pt x="1189" y="3153"/>
                    <a:pt x="1304" y="3200"/>
                    <a:pt x="1424" y="3233"/>
                  </a:cubicBezTo>
                  <a:lnTo>
                    <a:pt x="1424" y="3356"/>
                  </a:lnTo>
                  <a:cubicBezTo>
                    <a:pt x="1425" y="3504"/>
                    <a:pt x="1545" y="3624"/>
                    <a:pt x="1691" y="3624"/>
                  </a:cubicBezTo>
                  <a:close/>
                  <a:moveTo>
                    <a:pt x="1133" y="2831"/>
                  </a:moveTo>
                  <a:cubicBezTo>
                    <a:pt x="1111" y="2818"/>
                    <a:pt x="1088" y="2810"/>
                    <a:pt x="1064" y="2810"/>
                  </a:cubicBezTo>
                  <a:cubicBezTo>
                    <a:pt x="1031" y="2810"/>
                    <a:pt x="1000" y="2823"/>
                    <a:pt x="976" y="2846"/>
                  </a:cubicBezTo>
                  <a:lnTo>
                    <a:pt x="820" y="3003"/>
                  </a:lnTo>
                  <a:cubicBezTo>
                    <a:pt x="815" y="3008"/>
                    <a:pt x="810" y="3009"/>
                    <a:pt x="806" y="3009"/>
                  </a:cubicBezTo>
                  <a:cubicBezTo>
                    <a:pt x="803" y="3009"/>
                    <a:pt x="798" y="3008"/>
                    <a:pt x="793" y="3003"/>
                  </a:cubicBezTo>
                  <a:lnTo>
                    <a:pt x="623" y="2833"/>
                  </a:lnTo>
                  <a:cubicBezTo>
                    <a:pt x="615" y="2825"/>
                    <a:pt x="615" y="2813"/>
                    <a:pt x="623" y="2805"/>
                  </a:cubicBezTo>
                  <a:lnTo>
                    <a:pt x="779" y="2649"/>
                  </a:lnTo>
                  <a:cubicBezTo>
                    <a:pt x="820" y="2608"/>
                    <a:pt x="828" y="2541"/>
                    <a:pt x="794" y="2493"/>
                  </a:cubicBezTo>
                  <a:cubicBezTo>
                    <a:pt x="704" y="2359"/>
                    <a:pt x="643" y="2210"/>
                    <a:pt x="611" y="2053"/>
                  </a:cubicBezTo>
                  <a:cubicBezTo>
                    <a:pt x="600" y="1995"/>
                    <a:pt x="549" y="1953"/>
                    <a:pt x="490" y="1953"/>
                  </a:cubicBezTo>
                  <a:lnTo>
                    <a:pt x="269" y="1953"/>
                  </a:lnTo>
                  <a:cubicBezTo>
                    <a:pt x="258" y="1953"/>
                    <a:pt x="249" y="1944"/>
                    <a:pt x="249" y="1933"/>
                  </a:cubicBezTo>
                  <a:lnTo>
                    <a:pt x="249" y="1691"/>
                  </a:lnTo>
                  <a:cubicBezTo>
                    <a:pt x="249" y="1680"/>
                    <a:pt x="258" y="1671"/>
                    <a:pt x="269" y="1671"/>
                  </a:cubicBezTo>
                  <a:lnTo>
                    <a:pt x="490" y="1671"/>
                  </a:lnTo>
                  <a:cubicBezTo>
                    <a:pt x="549" y="1671"/>
                    <a:pt x="600" y="1630"/>
                    <a:pt x="611" y="1571"/>
                  </a:cubicBezTo>
                  <a:cubicBezTo>
                    <a:pt x="643" y="1414"/>
                    <a:pt x="704" y="1265"/>
                    <a:pt x="794" y="1131"/>
                  </a:cubicBezTo>
                  <a:cubicBezTo>
                    <a:pt x="826" y="1083"/>
                    <a:pt x="820" y="1016"/>
                    <a:pt x="779" y="975"/>
                  </a:cubicBezTo>
                  <a:lnTo>
                    <a:pt x="623" y="819"/>
                  </a:lnTo>
                  <a:cubicBezTo>
                    <a:pt x="615" y="811"/>
                    <a:pt x="615" y="799"/>
                    <a:pt x="623" y="791"/>
                  </a:cubicBezTo>
                  <a:lnTo>
                    <a:pt x="793" y="621"/>
                  </a:lnTo>
                  <a:cubicBezTo>
                    <a:pt x="798" y="616"/>
                    <a:pt x="803" y="615"/>
                    <a:pt x="806" y="615"/>
                  </a:cubicBezTo>
                  <a:cubicBezTo>
                    <a:pt x="810" y="615"/>
                    <a:pt x="815" y="616"/>
                    <a:pt x="820" y="621"/>
                  </a:cubicBezTo>
                  <a:lnTo>
                    <a:pt x="976" y="780"/>
                  </a:lnTo>
                  <a:cubicBezTo>
                    <a:pt x="1017" y="821"/>
                    <a:pt x="1084" y="829"/>
                    <a:pt x="1133" y="795"/>
                  </a:cubicBezTo>
                  <a:cubicBezTo>
                    <a:pt x="1266" y="705"/>
                    <a:pt x="1415" y="644"/>
                    <a:pt x="1573" y="613"/>
                  </a:cubicBezTo>
                  <a:cubicBezTo>
                    <a:pt x="1630" y="601"/>
                    <a:pt x="1673" y="550"/>
                    <a:pt x="1673" y="491"/>
                  </a:cubicBezTo>
                  <a:lnTo>
                    <a:pt x="1673" y="270"/>
                  </a:lnTo>
                  <a:cubicBezTo>
                    <a:pt x="1673" y="259"/>
                    <a:pt x="1681" y="250"/>
                    <a:pt x="1693" y="250"/>
                  </a:cubicBezTo>
                  <a:lnTo>
                    <a:pt x="1934" y="250"/>
                  </a:lnTo>
                  <a:cubicBezTo>
                    <a:pt x="1945" y="250"/>
                    <a:pt x="1954" y="259"/>
                    <a:pt x="1954" y="270"/>
                  </a:cubicBezTo>
                  <a:lnTo>
                    <a:pt x="1954" y="491"/>
                  </a:lnTo>
                  <a:cubicBezTo>
                    <a:pt x="1954" y="550"/>
                    <a:pt x="1995" y="601"/>
                    <a:pt x="2054" y="613"/>
                  </a:cubicBezTo>
                  <a:cubicBezTo>
                    <a:pt x="2211" y="644"/>
                    <a:pt x="2360" y="705"/>
                    <a:pt x="2494" y="795"/>
                  </a:cubicBezTo>
                  <a:cubicBezTo>
                    <a:pt x="2543" y="828"/>
                    <a:pt x="2609" y="821"/>
                    <a:pt x="2650" y="780"/>
                  </a:cubicBezTo>
                  <a:lnTo>
                    <a:pt x="2806" y="624"/>
                  </a:lnTo>
                  <a:cubicBezTo>
                    <a:pt x="2811" y="619"/>
                    <a:pt x="2816" y="618"/>
                    <a:pt x="2820" y="618"/>
                  </a:cubicBezTo>
                  <a:cubicBezTo>
                    <a:pt x="2824" y="618"/>
                    <a:pt x="2829" y="619"/>
                    <a:pt x="2834" y="624"/>
                  </a:cubicBezTo>
                  <a:lnTo>
                    <a:pt x="3004" y="794"/>
                  </a:lnTo>
                  <a:cubicBezTo>
                    <a:pt x="3009" y="799"/>
                    <a:pt x="3010" y="804"/>
                    <a:pt x="3010" y="808"/>
                  </a:cubicBezTo>
                  <a:cubicBezTo>
                    <a:pt x="3010" y="811"/>
                    <a:pt x="3009" y="816"/>
                    <a:pt x="3004" y="821"/>
                  </a:cubicBezTo>
                  <a:lnTo>
                    <a:pt x="2848" y="978"/>
                  </a:lnTo>
                  <a:cubicBezTo>
                    <a:pt x="2806" y="1019"/>
                    <a:pt x="2799" y="1085"/>
                    <a:pt x="2833" y="1134"/>
                  </a:cubicBezTo>
                  <a:cubicBezTo>
                    <a:pt x="2923" y="1268"/>
                    <a:pt x="2984" y="1416"/>
                    <a:pt x="3015" y="1574"/>
                  </a:cubicBezTo>
                  <a:cubicBezTo>
                    <a:pt x="3026" y="1631"/>
                    <a:pt x="3078" y="1674"/>
                    <a:pt x="3136" y="1674"/>
                  </a:cubicBezTo>
                  <a:lnTo>
                    <a:pt x="3357" y="1674"/>
                  </a:lnTo>
                  <a:cubicBezTo>
                    <a:pt x="3369" y="1674"/>
                    <a:pt x="3378" y="1683"/>
                    <a:pt x="3378" y="1694"/>
                  </a:cubicBezTo>
                  <a:lnTo>
                    <a:pt x="3378" y="1935"/>
                  </a:lnTo>
                  <a:cubicBezTo>
                    <a:pt x="3378" y="1946"/>
                    <a:pt x="3369" y="1955"/>
                    <a:pt x="3357" y="1955"/>
                  </a:cubicBezTo>
                  <a:lnTo>
                    <a:pt x="3136" y="1955"/>
                  </a:lnTo>
                  <a:cubicBezTo>
                    <a:pt x="3078" y="1955"/>
                    <a:pt x="3026" y="1996"/>
                    <a:pt x="3015" y="2055"/>
                  </a:cubicBezTo>
                  <a:cubicBezTo>
                    <a:pt x="2984" y="2213"/>
                    <a:pt x="2923" y="2361"/>
                    <a:pt x="2833" y="2495"/>
                  </a:cubicBezTo>
                  <a:cubicBezTo>
                    <a:pt x="2800" y="2544"/>
                    <a:pt x="2806" y="2610"/>
                    <a:pt x="2848" y="2651"/>
                  </a:cubicBezTo>
                  <a:lnTo>
                    <a:pt x="3004" y="2808"/>
                  </a:lnTo>
                  <a:cubicBezTo>
                    <a:pt x="3009" y="2813"/>
                    <a:pt x="3010" y="2818"/>
                    <a:pt x="3010" y="2821"/>
                  </a:cubicBezTo>
                  <a:cubicBezTo>
                    <a:pt x="3010" y="2825"/>
                    <a:pt x="3009" y="2830"/>
                    <a:pt x="3004" y="2835"/>
                  </a:cubicBezTo>
                  <a:lnTo>
                    <a:pt x="2834" y="3005"/>
                  </a:lnTo>
                  <a:cubicBezTo>
                    <a:pt x="2829" y="3010"/>
                    <a:pt x="2824" y="3011"/>
                    <a:pt x="2820" y="3011"/>
                  </a:cubicBezTo>
                  <a:cubicBezTo>
                    <a:pt x="2816" y="3011"/>
                    <a:pt x="2811" y="3010"/>
                    <a:pt x="2806" y="3005"/>
                  </a:cubicBezTo>
                  <a:lnTo>
                    <a:pt x="2650" y="2849"/>
                  </a:lnTo>
                  <a:cubicBezTo>
                    <a:pt x="2609" y="2808"/>
                    <a:pt x="2543" y="2800"/>
                    <a:pt x="2494" y="2834"/>
                  </a:cubicBezTo>
                  <a:cubicBezTo>
                    <a:pt x="2360" y="2924"/>
                    <a:pt x="2211" y="2985"/>
                    <a:pt x="2054" y="3016"/>
                  </a:cubicBezTo>
                  <a:cubicBezTo>
                    <a:pt x="1996" y="3028"/>
                    <a:pt x="1954" y="3079"/>
                    <a:pt x="1954" y="3138"/>
                  </a:cubicBezTo>
                  <a:lnTo>
                    <a:pt x="1954" y="3359"/>
                  </a:lnTo>
                  <a:cubicBezTo>
                    <a:pt x="1954" y="3370"/>
                    <a:pt x="1945" y="3379"/>
                    <a:pt x="1934" y="3379"/>
                  </a:cubicBezTo>
                  <a:lnTo>
                    <a:pt x="1693" y="3379"/>
                  </a:lnTo>
                  <a:cubicBezTo>
                    <a:pt x="1681" y="3379"/>
                    <a:pt x="1673" y="3370"/>
                    <a:pt x="1673" y="3359"/>
                  </a:cubicBezTo>
                  <a:lnTo>
                    <a:pt x="1673" y="3138"/>
                  </a:lnTo>
                  <a:cubicBezTo>
                    <a:pt x="1673" y="3079"/>
                    <a:pt x="1631" y="3028"/>
                    <a:pt x="1573" y="3016"/>
                  </a:cubicBezTo>
                  <a:cubicBezTo>
                    <a:pt x="1415" y="2983"/>
                    <a:pt x="1266" y="2921"/>
                    <a:pt x="1133" y="28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514419">
                <a:defRPr/>
              </a:pPr>
              <a:endParaRPr lang="en-US" sz="10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reeform 26">
              <a:extLst>
                <a:ext uri="{FF2B5EF4-FFF2-40B4-BE49-F238E27FC236}">
                  <a16:creationId xmlns:a16="http://schemas.microsoft.com/office/drawing/2014/main" id="{CB76D9C2-90AF-4BC3-B6C6-9F460DA747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0325" y="3967163"/>
              <a:ext cx="1639888" cy="1641475"/>
            </a:xfrm>
            <a:custGeom>
              <a:avLst/>
              <a:gdLst>
                <a:gd name="T0" fmla="*/ 1469 w 1469"/>
                <a:gd name="T1" fmla="*/ 735 h 1470"/>
                <a:gd name="T2" fmla="*/ 734 w 1469"/>
                <a:gd name="T3" fmla="*/ 0 h 1470"/>
                <a:gd name="T4" fmla="*/ 0 w 1469"/>
                <a:gd name="T5" fmla="*/ 735 h 1470"/>
                <a:gd name="T6" fmla="*/ 735 w 1469"/>
                <a:gd name="T7" fmla="*/ 1470 h 1470"/>
                <a:gd name="T8" fmla="*/ 1469 w 1469"/>
                <a:gd name="T9" fmla="*/ 735 h 1470"/>
                <a:gd name="T10" fmla="*/ 248 w 1469"/>
                <a:gd name="T11" fmla="*/ 735 h 1470"/>
                <a:gd name="T12" fmla="*/ 736 w 1469"/>
                <a:gd name="T13" fmla="*/ 247 h 1470"/>
                <a:gd name="T14" fmla="*/ 1223 w 1469"/>
                <a:gd name="T15" fmla="*/ 735 h 1470"/>
                <a:gd name="T16" fmla="*/ 736 w 1469"/>
                <a:gd name="T17" fmla="*/ 1222 h 1470"/>
                <a:gd name="T18" fmla="*/ 248 w 1469"/>
                <a:gd name="T19" fmla="*/ 735 h 1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69" h="1470">
                  <a:moveTo>
                    <a:pt x="1469" y="735"/>
                  </a:moveTo>
                  <a:cubicBezTo>
                    <a:pt x="1469" y="330"/>
                    <a:pt x="1139" y="0"/>
                    <a:pt x="734" y="0"/>
                  </a:cubicBezTo>
                  <a:cubicBezTo>
                    <a:pt x="329" y="0"/>
                    <a:pt x="0" y="330"/>
                    <a:pt x="0" y="735"/>
                  </a:cubicBezTo>
                  <a:cubicBezTo>
                    <a:pt x="0" y="1140"/>
                    <a:pt x="330" y="1470"/>
                    <a:pt x="735" y="1470"/>
                  </a:cubicBezTo>
                  <a:cubicBezTo>
                    <a:pt x="1140" y="1470"/>
                    <a:pt x="1469" y="1140"/>
                    <a:pt x="1469" y="735"/>
                  </a:cubicBezTo>
                  <a:close/>
                  <a:moveTo>
                    <a:pt x="248" y="735"/>
                  </a:moveTo>
                  <a:cubicBezTo>
                    <a:pt x="248" y="466"/>
                    <a:pt x="467" y="247"/>
                    <a:pt x="736" y="247"/>
                  </a:cubicBezTo>
                  <a:cubicBezTo>
                    <a:pt x="1004" y="247"/>
                    <a:pt x="1223" y="466"/>
                    <a:pt x="1223" y="735"/>
                  </a:cubicBezTo>
                  <a:cubicBezTo>
                    <a:pt x="1223" y="1004"/>
                    <a:pt x="1004" y="1222"/>
                    <a:pt x="736" y="1222"/>
                  </a:cubicBezTo>
                  <a:cubicBezTo>
                    <a:pt x="467" y="1222"/>
                    <a:pt x="248" y="1002"/>
                    <a:pt x="248" y="7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514419">
                <a:defRPr/>
              </a:pPr>
              <a:endParaRPr lang="en-US" sz="10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64" name="Picture 63">
            <a:extLst>
              <a:ext uri="{FF2B5EF4-FFF2-40B4-BE49-F238E27FC236}">
                <a16:creationId xmlns:a16="http://schemas.microsoft.com/office/drawing/2014/main" id="{2022909A-BD2C-4D1F-94BF-F257FD26A52A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6998813" y="1033214"/>
            <a:ext cx="320827" cy="305686"/>
          </a:xfrm>
          <a:prstGeom prst="rect">
            <a:avLst/>
          </a:prstGeom>
        </p:spPr>
      </p:pic>
      <p:grpSp>
        <p:nvGrpSpPr>
          <p:cNvPr id="65" name="Group 64">
            <a:extLst>
              <a:ext uri="{FF2B5EF4-FFF2-40B4-BE49-F238E27FC236}">
                <a16:creationId xmlns:a16="http://schemas.microsoft.com/office/drawing/2014/main" id="{7CF8339A-2A24-495F-8576-78C6B4C9ED55}"/>
              </a:ext>
            </a:extLst>
          </p:cNvPr>
          <p:cNvGrpSpPr/>
          <p:nvPr/>
        </p:nvGrpSpPr>
        <p:grpSpPr>
          <a:xfrm>
            <a:off x="1225459" y="847788"/>
            <a:ext cx="333942" cy="293547"/>
            <a:chOff x="7322470" y="1451055"/>
            <a:chExt cx="347536" cy="370576"/>
          </a:xfrm>
          <a:solidFill>
            <a:schemeClr val="bg1"/>
          </a:solidFill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29CAE63E-00AA-4B9E-806C-9FD004FD53BF}"/>
                </a:ext>
              </a:extLst>
            </p:cNvPr>
            <p:cNvGrpSpPr/>
            <p:nvPr/>
          </p:nvGrpSpPr>
          <p:grpSpPr>
            <a:xfrm>
              <a:off x="7322470" y="1451055"/>
              <a:ext cx="347536" cy="370576"/>
              <a:chOff x="579484" y="2487254"/>
              <a:chExt cx="461319" cy="491904"/>
            </a:xfrm>
            <a:grpFill/>
          </p:grpSpPr>
          <p:sp>
            <p:nvSpPr>
              <p:cNvPr id="68" name="Freeform 66">
                <a:extLst>
                  <a:ext uri="{FF2B5EF4-FFF2-40B4-BE49-F238E27FC236}">
                    <a16:creationId xmlns:a16="http://schemas.microsoft.com/office/drawing/2014/main" id="{1142864C-DB97-480D-B5DA-DC65FBC2191B}"/>
                  </a:ext>
                </a:extLst>
              </p:cNvPr>
              <p:cNvSpPr/>
              <p:nvPr/>
            </p:nvSpPr>
            <p:spPr>
              <a:xfrm rot="19380000">
                <a:off x="579484" y="2659638"/>
                <a:ext cx="437505" cy="319520"/>
              </a:xfrm>
              <a:custGeom>
                <a:avLst/>
                <a:gdLst>
                  <a:gd name="connsiteX0" fmla="*/ 907143 w 4938613"/>
                  <a:gd name="connsiteY0" fmla="*/ 0 h 3606800"/>
                  <a:gd name="connsiteX1" fmla="*/ 1814286 w 4938613"/>
                  <a:gd name="connsiteY1" fmla="*/ 1204685 h 3606800"/>
                  <a:gd name="connsiteX2" fmla="*/ 1183513 w 4938613"/>
                  <a:gd name="connsiteY2" fmla="*/ 1204685 h 3606800"/>
                  <a:gd name="connsiteX3" fmla="*/ 1188555 w 4938613"/>
                  <a:gd name="connsiteY3" fmla="*/ 1304541 h 3606800"/>
                  <a:gd name="connsiteX4" fmla="*/ 3148695 w 4938613"/>
                  <a:gd name="connsiteY4" fmla="*/ 3073399 h 3606800"/>
                  <a:gd name="connsiteX5" fmla="*/ 4541917 w 4938613"/>
                  <a:gd name="connsiteY5" fmla="*/ 2496309 h 3606800"/>
                  <a:gd name="connsiteX6" fmla="*/ 4629199 w 4938613"/>
                  <a:gd name="connsiteY6" fmla="*/ 2400274 h 3606800"/>
                  <a:gd name="connsiteX7" fmla="*/ 4938613 w 4938613"/>
                  <a:gd name="connsiteY7" fmla="*/ 2851998 h 3606800"/>
                  <a:gd name="connsiteX8" fmla="*/ 4919088 w 4938613"/>
                  <a:gd name="connsiteY8" fmla="*/ 2873480 h 3606800"/>
                  <a:gd name="connsiteX9" fmla="*/ 3148695 w 4938613"/>
                  <a:gd name="connsiteY9" fmla="*/ 3606800 h 3606800"/>
                  <a:gd name="connsiteX10" fmla="*/ 657907 w 4938613"/>
                  <a:gd name="connsiteY10" fmla="*/ 1359078 h 3606800"/>
                  <a:gd name="connsiteX11" fmla="*/ 650111 w 4938613"/>
                  <a:gd name="connsiteY11" fmla="*/ 1204685 h 3606800"/>
                  <a:gd name="connsiteX12" fmla="*/ 0 w 4938613"/>
                  <a:gd name="connsiteY12" fmla="*/ 1204685 h 3606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8613" h="3606800">
                    <a:moveTo>
                      <a:pt x="907143" y="0"/>
                    </a:moveTo>
                    <a:lnTo>
                      <a:pt x="1814286" y="1204685"/>
                    </a:lnTo>
                    <a:lnTo>
                      <a:pt x="1183513" y="1204685"/>
                    </a:lnTo>
                    <a:lnTo>
                      <a:pt x="1188555" y="1304541"/>
                    </a:lnTo>
                    <a:cubicBezTo>
                      <a:pt x="1289454" y="2298083"/>
                      <a:pt x="2128532" y="3073399"/>
                      <a:pt x="3148695" y="3073399"/>
                    </a:cubicBezTo>
                    <a:cubicBezTo>
                      <a:pt x="3692782" y="3073399"/>
                      <a:pt x="4185361" y="2852865"/>
                      <a:pt x="4541917" y="2496309"/>
                    </a:cubicBezTo>
                    <a:lnTo>
                      <a:pt x="4629199" y="2400274"/>
                    </a:lnTo>
                    <a:lnTo>
                      <a:pt x="4938613" y="2851998"/>
                    </a:lnTo>
                    <a:lnTo>
                      <a:pt x="4919088" y="2873480"/>
                    </a:lnTo>
                    <a:cubicBezTo>
                      <a:pt x="4466005" y="3326563"/>
                      <a:pt x="3840077" y="3606800"/>
                      <a:pt x="3148695" y="3606800"/>
                    </a:cubicBezTo>
                    <a:cubicBezTo>
                      <a:pt x="1852355" y="3606800"/>
                      <a:pt x="786123" y="2621590"/>
                      <a:pt x="657907" y="1359078"/>
                    </a:cubicBezTo>
                    <a:lnTo>
                      <a:pt x="650111" y="1204685"/>
                    </a:lnTo>
                    <a:lnTo>
                      <a:pt x="0" y="1204685"/>
                    </a:lnTo>
                    <a:close/>
                  </a:path>
                </a:pathLst>
              </a:custGeom>
              <a:grpFill/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4419">
                  <a:defRPr/>
                </a:pPr>
                <a:endParaRPr lang="en-US" sz="1000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9" name="Freeform 67">
                <a:extLst>
                  <a:ext uri="{FF2B5EF4-FFF2-40B4-BE49-F238E27FC236}">
                    <a16:creationId xmlns:a16="http://schemas.microsoft.com/office/drawing/2014/main" id="{9DDE2123-315F-4945-8A0C-BDDE3C3EB46C}"/>
                  </a:ext>
                </a:extLst>
              </p:cNvPr>
              <p:cNvSpPr/>
              <p:nvPr/>
            </p:nvSpPr>
            <p:spPr>
              <a:xfrm rot="19380000">
                <a:off x="596971" y="2487254"/>
                <a:ext cx="443832" cy="307947"/>
              </a:xfrm>
              <a:custGeom>
                <a:avLst/>
                <a:gdLst>
                  <a:gd name="connsiteX0" fmla="*/ 1787860 w 5010028"/>
                  <a:gd name="connsiteY0" fmla="*/ 0 h 3476165"/>
                  <a:gd name="connsiteX1" fmla="*/ 4278648 w 5010028"/>
                  <a:gd name="connsiteY1" fmla="*/ 2247722 h 3476165"/>
                  <a:gd name="connsiteX2" fmla="*/ 4279848 w 5010028"/>
                  <a:gd name="connsiteY2" fmla="*/ 2271480 h 3476165"/>
                  <a:gd name="connsiteX3" fmla="*/ 5010028 w 5010028"/>
                  <a:gd name="connsiteY3" fmla="*/ 2271480 h 3476165"/>
                  <a:gd name="connsiteX4" fmla="*/ 4102885 w 5010028"/>
                  <a:gd name="connsiteY4" fmla="*/ 3476165 h 3476165"/>
                  <a:gd name="connsiteX5" fmla="*/ 3195742 w 5010028"/>
                  <a:gd name="connsiteY5" fmla="*/ 2271480 h 3476165"/>
                  <a:gd name="connsiteX6" fmla="*/ 3743303 w 5010028"/>
                  <a:gd name="connsiteY6" fmla="*/ 2271480 h 3476165"/>
                  <a:gd name="connsiteX7" fmla="*/ 3718143 w 5010028"/>
                  <a:gd name="connsiteY7" fmla="*/ 2106626 h 3476165"/>
                  <a:gd name="connsiteX8" fmla="*/ 1787860 w 5010028"/>
                  <a:gd name="connsiteY8" fmla="*/ 533401 h 3476165"/>
                  <a:gd name="connsiteX9" fmla="*/ 534558 w 5010028"/>
                  <a:gd name="connsiteY9" fmla="*/ 983324 h 3476165"/>
                  <a:gd name="connsiteX10" fmla="*/ 410253 w 5010028"/>
                  <a:gd name="connsiteY10" fmla="*/ 1096300 h 3476165"/>
                  <a:gd name="connsiteX11" fmla="*/ 0 w 5010028"/>
                  <a:gd name="connsiteY11" fmla="*/ 752539 h 3476165"/>
                  <a:gd name="connsiteX12" fmla="*/ 17467 w 5010028"/>
                  <a:gd name="connsiteY12" fmla="*/ 733320 h 3476165"/>
                  <a:gd name="connsiteX13" fmla="*/ 1787860 w 5010028"/>
                  <a:gd name="connsiteY13" fmla="*/ 0 h 3476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010028" h="3476165">
                    <a:moveTo>
                      <a:pt x="1787860" y="0"/>
                    </a:moveTo>
                    <a:cubicBezTo>
                      <a:pt x="3084201" y="0"/>
                      <a:pt x="4150433" y="985210"/>
                      <a:pt x="4278648" y="2247722"/>
                    </a:cubicBezTo>
                    <a:lnTo>
                      <a:pt x="4279848" y="2271480"/>
                    </a:lnTo>
                    <a:lnTo>
                      <a:pt x="5010028" y="2271480"/>
                    </a:lnTo>
                    <a:lnTo>
                      <a:pt x="4102885" y="3476165"/>
                    </a:lnTo>
                    <a:lnTo>
                      <a:pt x="3195742" y="2271480"/>
                    </a:lnTo>
                    <a:lnTo>
                      <a:pt x="3743303" y="2271480"/>
                    </a:lnTo>
                    <a:lnTo>
                      <a:pt x="3718143" y="2106626"/>
                    </a:lnTo>
                    <a:cubicBezTo>
                      <a:pt x="3534419" y="1208788"/>
                      <a:pt x="2740012" y="533401"/>
                      <a:pt x="1787860" y="533401"/>
                    </a:cubicBezTo>
                    <a:cubicBezTo>
                      <a:pt x="1311784" y="533401"/>
                      <a:pt x="875144" y="702248"/>
                      <a:pt x="534558" y="983324"/>
                    </a:cubicBezTo>
                    <a:lnTo>
                      <a:pt x="410253" y="1096300"/>
                    </a:lnTo>
                    <a:lnTo>
                      <a:pt x="0" y="752539"/>
                    </a:lnTo>
                    <a:lnTo>
                      <a:pt x="17467" y="733320"/>
                    </a:lnTo>
                    <a:cubicBezTo>
                      <a:pt x="470550" y="280238"/>
                      <a:pt x="1096479" y="0"/>
                      <a:pt x="1787860" y="0"/>
                    </a:cubicBezTo>
                    <a:close/>
                  </a:path>
                </a:pathLst>
              </a:custGeom>
              <a:grpFill/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514419">
                  <a:defRPr/>
                </a:pPr>
                <a:endParaRPr lang="en-US" sz="1000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67" name="Freeform 59">
              <a:extLst>
                <a:ext uri="{FF2B5EF4-FFF2-40B4-BE49-F238E27FC236}">
                  <a16:creationId xmlns:a16="http://schemas.microsoft.com/office/drawing/2014/main" id="{85DB8F83-591F-4404-A762-DB9A01B3A7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19571" y="1533902"/>
              <a:ext cx="153334" cy="162024"/>
            </a:xfrm>
            <a:custGeom>
              <a:avLst/>
              <a:gdLst>
                <a:gd name="T0" fmla="*/ 2876 w 2929"/>
                <a:gd name="T1" fmla="*/ 2621 h 3095"/>
                <a:gd name="T2" fmla="*/ 2817 w 2929"/>
                <a:gd name="T3" fmla="*/ 2212 h 3095"/>
                <a:gd name="T4" fmla="*/ 2702 w 2929"/>
                <a:gd name="T5" fmla="*/ 2068 h 3095"/>
                <a:gd name="T6" fmla="*/ 2466 w 2929"/>
                <a:gd name="T7" fmla="*/ 2026 h 3095"/>
                <a:gd name="T8" fmla="*/ 2191 w 2929"/>
                <a:gd name="T9" fmla="*/ 1954 h 3095"/>
                <a:gd name="T10" fmla="*/ 2004 w 2929"/>
                <a:gd name="T11" fmla="*/ 1804 h 3095"/>
                <a:gd name="T12" fmla="*/ 1819 w 2929"/>
                <a:gd name="T13" fmla="*/ 1683 h 3095"/>
                <a:gd name="T14" fmla="*/ 1835 w 2929"/>
                <a:gd name="T15" fmla="*/ 1766 h 3095"/>
                <a:gd name="T16" fmla="*/ 1829 w 2929"/>
                <a:gd name="T17" fmla="*/ 1859 h 3095"/>
                <a:gd name="T18" fmla="*/ 1850 w 2929"/>
                <a:gd name="T19" fmla="*/ 2410 h 3095"/>
                <a:gd name="T20" fmla="*/ 1663 w 2929"/>
                <a:gd name="T21" fmla="*/ 2938 h 3095"/>
                <a:gd name="T22" fmla="*/ 1585 w 2929"/>
                <a:gd name="T23" fmla="*/ 2727 h 3095"/>
                <a:gd name="T24" fmla="*/ 1522 w 2929"/>
                <a:gd name="T25" fmla="*/ 2244 h 3095"/>
                <a:gd name="T26" fmla="*/ 1493 w 2929"/>
                <a:gd name="T27" fmla="*/ 1996 h 3095"/>
                <a:gd name="T28" fmla="*/ 1548 w 2929"/>
                <a:gd name="T29" fmla="*/ 2000 h 3095"/>
                <a:gd name="T30" fmla="*/ 1654 w 2929"/>
                <a:gd name="T31" fmla="*/ 2122 h 3095"/>
                <a:gd name="T32" fmla="*/ 1777 w 2929"/>
                <a:gd name="T33" fmla="*/ 1659 h 3095"/>
                <a:gd name="T34" fmla="*/ 1734 w 2929"/>
                <a:gd name="T35" fmla="*/ 1622 h 3095"/>
                <a:gd name="T36" fmla="*/ 1786 w 2929"/>
                <a:gd name="T37" fmla="*/ 1462 h 3095"/>
                <a:gd name="T38" fmla="*/ 1853 w 2929"/>
                <a:gd name="T39" fmla="*/ 1194 h 3095"/>
                <a:gd name="T40" fmla="*/ 1951 w 2929"/>
                <a:gd name="T41" fmla="*/ 1053 h 3095"/>
                <a:gd name="T42" fmla="*/ 1994 w 2929"/>
                <a:gd name="T43" fmla="*/ 876 h 3095"/>
                <a:gd name="T44" fmla="*/ 1930 w 2929"/>
                <a:gd name="T45" fmla="*/ 757 h 3095"/>
                <a:gd name="T46" fmla="*/ 1934 w 2929"/>
                <a:gd name="T47" fmla="*/ 518 h 3095"/>
                <a:gd name="T48" fmla="*/ 1841 w 2929"/>
                <a:gd name="T49" fmla="*/ 207 h 3095"/>
                <a:gd name="T50" fmla="*/ 1663 w 2929"/>
                <a:gd name="T51" fmla="*/ 45 h 3095"/>
                <a:gd name="T52" fmla="*/ 1361 w 2929"/>
                <a:gd name="T53" fmla="*/ 7 h 3095"/>
                <a:gd name="T54" fmla="*/ 1096 w 2929"/>
                <a:gd name="T55" fmla="*/ 102 h 3095"/>
                <a:gd name="T56" fmla="*/ 965 w 2929"/>
                <a:gd name="T57" fmla="*/ 236 h 3095"/>
                <a:gd name="T58" fmla="*/ 883 w 2929"/>
                <a:gd name="T59" fmla="*/ 416 h 3095"/>
                <a:gd name="T60" fmla="*/ 868 w 2929"/>
                <a:gd name="T61" fmla="*/ 700 h 3095"/>
                <a:gd name="T62" fmla="*/ 867 w 2929"/>
                <a:gd name="T63" fmla="*/ 833 h 3095"/>
                <a:gd name="T64" fmla="*/ 843 w 2929"/>
                <a:gd name="T65" fmla="*/ 991 h 3095"/>
                <a:gd name="T66" fmla="*/ 951 w 2929"/>
                <a:gd name="T67" fmla="*/ 1126 h 3095"/>
                <a:gd name="T68" fmla="*/ 1049 w 2929"/>
                <a:gd name="T69" fmla="*/ 1351 h 3095"/>
                <a:gd name="T70" fmla="*/ 1148 w 2929"/>
                <a:gd name="T71" fmla="*/ 1542 h 3095"/>
                <a:gd name="T72" fmla="*/ 1126 w 2929"/>
                <a:gd name="T73" fmla="*/ 1643 h 3095"/>
                <a:gd name="T74" fmla="*/ 1041 w 2929"/>
                <a:gd name="T75" fmla="*/ 1686 h 3095"/>
                <a:gd name="T76" fmla="*/ 875 w 2929"/>
                <a:gd name="T77" fmla="*/ 1814 h 3095"/>
                <a:gd name="T78" fmla="*/ 625 w 2929"/>
                <a:gd name="T79" fmla="*/ 1958 h 3095"/>
                <a:gd name="T80" fmla="*/ 321 w 2929"/>
                <a:gd name="T81" fmla="*/ 2030 h 3095"/>
                <a:gd name="T82" fmla="*/ 122 w 2929"/>
                <a:gd name="T83" fmla="*/ 2148 h 3095"/>
                <a:gd name="T84" fmla="*/ 58 w 2929"/>
                <a:gd name="T85" fmla="*/ 2549 h 3095"/>
                <a:gd name="T86" fmla="*/ 13 w 2929"/>
                <a:gd name="T87" fmla="*/ 2926 h 3095"/>
                <a:gd name="T88" fmla="*/ 296 w 2929"/>
                <a:gd name="T89" fmla="*/ 3027 h 3095"/>
                <a:gd name="T90" fmla="*/ 843 w 2929"/>
                <a:gd name="T91" fmla="*/ 3082 h 3095"/>
                <a:gd name="T92" fmla="*/ 1518 w 2929"/>
                <a:gd name="T93" fmla="*/ 3095 h 3095"/>
                <a:gd name="T94" fmla="*/ 2182 w 2929"/>
                <a:gd name="T95" fmla="*/ 3067 h 3095"/>
                <a:gd name="T96" fmla="*/ 2698 w 2929"/>
                <a:gd name="T97" fmla="*/ 3003 h 3095"/>
                <a:gd name="T98" fmla="*/ 2928 w 2929"/>
                <a:gd name="T99" fmla="*/ 2905 h 3095"/>
                <a:gd name="T100" fmla="*/ 1155 w 2929"/>
                <a:gd name="T101" fmla="*/ 2771 h 3095"/>
                <a:gd name="T102" fmla="*/ 1021 w 2929"/>
                <a:gd name="T103" fmla="*/ 2236 h 3095"/>
                <a:gd name="T104" fmla="*/ 1048 w 2929"/>
                <a:gd name="T105" fmla="*/ 1845 h 3095"/>
                <a:gd name="T106" fmla="*/ 1090 w 2929"/>
                <a:gd name="T107" fmla="*/ 1681 h 3095"/>
                <a:gd name="T108" fmla="*/ 1230 w 2929"/>
                <a:gd name="T109" fmla="*/ 2135 h 3095"/>
                <a:gd name="T110" fmla="*/ 1324 w 2929"/>
                <a:gd name="T111" fmla="*/ 2017 h 3095"/>
                <a:gd name="T112" fmla="*/ 1389 w 2929"/>
                <a:gd name="T113" fmla="*/ 1992 h 3095"/>
                <a:gd name="T114" fmla="*/ 1363 w 2929"/>
                <a:gd name="T115" fmla="*/ 2282 h 3095"/>
                <a:gd name="T116" fmla="*/ 1313 w 2929"/>
                <a:gd name="T117" fmla="*/ 2949 h 3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29" h="3095">
                  <a:moveTo>
                    <a:pt x="2929" y="2888"/>
                  </a:moveTo>
                  <a:lnTo>
                    <a:pt x="2922" y="2842"/>
                  </a:lnTo>
                  <a:lnTo>
                    <a:pt x="2912" y="2798"/>
                  </a:lnTo>
                  <a:lnTo>
                    <a:pt x="2905" y="2754"/>
                  </a:lnTo>
                  <a:lnTo>
                    <a:pt x="2895" y="2711"/>
                  </a:lnTo>
                  <a:lnTo>
                    <a:pt x="2885" y="2667"/>
                  </a:lnTo>
                  <a:lnTo>
                    <a:pt x="2876" y="2621"/>
                  </a:lnTo>
                  <a:lnTo>
                    <a:pt x="2867" y="2572"/>
                  </a:lnTo>
                  <a:lnTo>
                    <a:pt x="2856" y="2519"/>
                  </a:lnTo>
                  <a:lnTo>
                    <a:pt x="2847" y="2461"/>
                  </a:lnTo>
                  <a:lnTo>
                    <a:pt x="2838" y="2398"/>
                  </a:lnTo>
                  <a:lnTo>
                    <a:pt x="2829" y="2328"/>
                  </a:lnTo>
                  <a:lnTo>
                    <a:pt x="2819" y="2250"/>
                  </a:lnTo>
                  <a:lnTo>
                    <a:pt x="2817" y="2212"/>
                  </a:lnTo>
                  <a:lnTo>
                    <a:pt x="2812" y="2181"/>
                  </a:lnTo>
                  <a:lnTo>
                    <a:pt x="2801" y="2153"/>
                  </a:lnTo>
                  <a:lnTo>
                    <a:pt x="2788" y="2129"/>
                  </a:lnTo>
                  <a:lnTo>
                    <a:pt x="2771" y="2109"/>
                  </a:lnTo>
                  <a:lnTo>
                    <a:pt x="2751" y="2093"/>
                  </a:lnTo>
                  <a:lnTo>
                    <a:pt x="2728" y="2079"/>
                  </a:lnTo>
                  <a:lnTo>
                    <a:pt x="2702" y="2068"/>
                  </a:lnTo>
                  <a:lnTo>
                    <a:pt x="2674" y="2059"/>
                  </a:lnTo>
                  <a:lnTo>
                    <a:pt x="2643" y="2051"/>
                  </a:lnTo>
                  <a:lnTo>
                    <a:pt x="2611" y="2045"/>
                  </a:lnTo>
                  <a:lnTo>
                    <a:pt x="2576" y="2041"/>
                  </a:lnTo>
                  <a:lnTo>
                    <a:pt x="2541" y="2036"/>
                  </a:lnTo>
                  <a:lnTo>
                    <a:pt x="2504" y="2032"/>
                  </a:lnTo>
                  <a:lnTo>
                    <a:pt x="2466" y="2026"/>
                  </a:lnTo>
                  <a:lnTo>
                    <a:pt x="2427" y="2021"/>
                  </a:lnTo>
                  <a:lnTo>
                    <a:pt x="2387" y="2016"/>
                  </a:lnTo>
                  <a:lnTo>
                    <a:pt x="2348" y="2008"/>
                  </a:lnTo>
                  <a:lnTo>
                    <a:pt x="2309" y="1998"/>
                  </a:lnTo>
                  <a:lnTo>
                    <a:pt x="2268" y="1986"/>
                  </a:lnTo>
                  <a:lnTo>
                    <a:pt x="2230" y="1971"/>
                  </a:lnTo>
                  <a:lnTo>
                    <a:pt x="2191" y="1954"/>
                  </a:lnTo>
                  <a:lnTo>
                    <a:pt x="2154" y="1934"/>
                  </a:lnTo>
                  <a:lnTo>
                    <a:pt x="2118" y="1909"/>
                  </a:lnTo>
                  <a:lnTo>
                    <a:pt x="2101" y="1889"/>
                  </a:lnTo>
                  <a:lnTo>
                    <a:pt x="2081" y="1868"/>
                  </a:lnTo>
                  <a:lnTo>
                    <a:pt x="2057" y="1846"/>
                  </a:lnTo>
                  <a:lnTo>
                    <a:pt x="2031" y="1825"/>
                  </a:lnTo>
                  <a:lnTo>
                    <a:pt x="2004" y="1804"/>
                  </a:lnTo>
                  <a:lnTo>
                    <a:pt x="1976" y="1783"/>
                  </a:lnTo>
                  <a:lnTo>
                    <a:pt x="1947" y="1763"/>
                  </a:lnTo>
                  <a:lnTo>
                    <a:pt x="1918" y="1744"/>
                  </a:lnTo>
                  <a:lnTo>
                    <a:pt x="1891" y="1727"/>
                  </a:lnTo>
                  <a:lnTo>
                    <a:pt x="1865" y="1710"/>
                  </a:lnTo>
                  <a:lnTo>
                    <a:pt x="1840" y="1695"/>
                  </a:lnTo>
                  <a:lnTo>
                    <a:pt x="1819" y="1683"/>
                  </a:lnTo>
                  <a:lnTo>
                    <a:pt x="1802" y="1673"/>
                  </a:lnTo>
                  <a:lnTo>
                    <a:pt x="1789" y="1665"/>
                  </a:lnTo>
                  <a:lnTo>
                    <a:pt x="1781" y="1661"/>
                  </a:lnTo>
                  <a:lnTo>
                    <a:pt x="1777" y="1659"/>
                  </a:lnTo>
                  <a:lnTo>
                    <a:pt x="1799" y="1691"/>
                  </a:lnTo>
                  <a:lnTo>
                    <a:pt x="1818" y="1728"/>
                  </a:lnTo>
                  <a:lnTo>
                    <a:pt x="1835" y="1766"/>
                  </a:lnTo>
                  <a:lnTo>
                    <a:pt x="1849" y="1803"/>
                  </a:lnTo>
                  <a:lnTo>
                    <a:pt x="1848" y="1810"/>
                  </a:lnTo>
                  <a:lnTo>
                    <a:pt x="1845" y="1820"/>
                  </a:lnTo>
                  <a:lnTo>
                    <a:pt x="1839" y="1831"/>
                  </a:lnTo>
                  <a:lnTo>
                    <a:pt x="1833" y="1842"/>
                  </a:lnTo>
                  <a:lnTo>
                    <a:pt x="1829" y="1852"/>
                  </a:lnTo>
                  <a:lnTo>
                    <a:pt x="1829" y="1859"/>
                  </a:lnTo>
                  <a:lnTo>
                    <a:pt x="1849" y="1932"/>
                  </a:lnTo>
                  <a:lnTo>
                    <a:pt x="1863" y="2008"/>
                  </a:lnTo>
                  <a:lnTo>
                    <a:pt x="1871" y="2087"/>
                  </a:lnTo>
                  <a:lnTo>
                    <a:pt x="1874" y="2167"/>
                  </a:lnTo>
                  <a:lnTo>
                    <a:pt x="1871" y="2248"/>
                  </a:lnTo>
                  <a:lnTo>
                    <a:pt x="1863" y="2329"/>
                  </a:lnTo>
                  <a:lnTo>
                    <a:pt x="1850" y="2410"/>
                  </a:lnTo>
                  <a:lnTo>
                    <a:pt x="1833" y="2491"/>
                  </a:lnTo>
                  <a:lnTo>
                    <a:pt x="1814" y="2572"/>
                  </a:lnTo>
                  <a:lnTo>
                    <a:pt x="1789" y="2651"/>
                  </a:lnTo>
                  <a:lnTo>
                    <a:pt x="1761" y="2727"/>
                  </a:lnTo>
                  <a:lnTo>
                    <a:pt x="1731" y="2800"/>
                  </a:lnTo>
                  <a:lnTo>
                    <a:pt x="1698" y="2871"/>
                  </a:lnTo>
                  <a:lnTo>
                    <a:pt x="1663" y="2938"/>
                  </a:lnTo>
                  <a:lnTo>
                    <a:pt x="1626" y="2999"/>
                  </a:lnTo>
                  <a:lnTo>
                    <a:pt x="1587" y="3057"/>
                  </a:lnTo>
                  <a:lnTo>
                    <a:pt x="1591" y="2998"/>
                  </a:lnTo>
                  <a:lnTo>
                    <a:pt x="1592" y="2934"/>
                  </a:lnTo>
                  <a:lnTo>
                    <a:pt x="1592" y="2867"/>
                  </a:lnTo>
                  <a:lnTo>
                    <a:pt x="1588" y="2798"/>
                  </a:lnTo>
                  <a:lnTo>
                    <a:pt x="1585" y="2727"/>
                  </a:lnTo>
                  <a:lnTo>
                    <a:pt x="1578" y="2655"/>
                  </a:lnTo>
                  <a:lnTo>
                    <a:pt x="1570" y="2583"/>
                  </a:lnTo>
                  <a:lnTo>
                    <a:pt x="1562" y="2511"/>
                  </a:lnTo>
                  <a:lnTo>
                    <a:pt x="1553" y="2440"/>
                  </a:lnTo>
                  <a:lnTo>
                    <a:pt x="1543" y="2372"/>
                  </a:lnTo>
                  <a:lnTo>
                    <a:pt x="1532" y="2305"/>
                  </a:lnTo>
                  <a:lnTo>
                    <a:pt x="1522" y="2244"/>
                  </a:lnTo>
                  <a:lnTo>
                    <a:pt x="1511" y="2185"/>
                  </a:lnTo>
                  <a:lnTo>
                    <a:pt x="1501" y="2133"/>
                  </a:lnTo>
                  <a:lnTo>
                    <a:pt x="1492" y="2085"/>
                  </a:lnTo>
                  <a:lnTo>
                    <a:pt x="1482" y="2045"/>
                  </a:lnTo>
                  <a:lnTo>
                    <a:pt x="1475" y="2011"/>
                  </a:lnTo>
                  <a:lnTo>
                    <a:pt x="1485" y="2006"/>
                  </a:lnTo>
                  <a:lnTo>
                    <a:pt x="1493" y="1996"/>
                  </a:lnTo>
                  <a:lnTo>
                    <a:pt x="1499" y="1989"/>
                  </a:lnTo>
                  <a:lnTo>
                    <a:pt x="1505" y="1979"/>
                  </a:lnTo>
                  <a:lnTo>
                    <a:pt x="1509" y="1973"/>
                  </a:lnTo>
                  <a:lnTo>
                    <a:pt x="1514" y="1970"/>
                  </a:lnTo>
                  <a:lnTo>
                    <a:pt x="1519" y="1971"/>
                  </a:lnTo>
                  <a:lnTo>
                    <a:pt x="1532" y="1985"/>
                  </a:lnTo>
                  <a:lnTo>
                    <a:pt x="1548" y="2000"/>
                  </a:lnTo>
                  <a:lnTo>
                    <a:pt x="1564" y="2019"/>
                  </a:lnTo>
                  <a:lnTo>
                    <a:pt x="1581" y="2037"/>
                  </a:lnTo>
                  <a:lnTo>
                    <a:pt x="1598" y="2057"/>
                  </a:lnTo>
                  <a:lnTo>
                    <a:pt x="1613" y="2075"/>
                  </a:lnTo>
                  <a:lnTo>
                    <a:pt x="1629" y="2092"/>
                  </a:lnTo>
                  <a:lnTo>
                    <a:pt x="1642" y="2109"/>
                  </a:lnTo>
                  <a:lnTo>
                    <a:pt x="1654" y="2122"/>
                  </a:lnTo>
                  <a:lnTo>
                    <a:pt x="1663" y="2133"/>
                  </a:lnTo>
                  <a:lnTo>
                    <a:pt x="1670" y="2139"/>
                  </a:lnTo>
                  <a:lnTo>
                    <a:pt x="1671" y="2142"/>
                  </a:lnTo>
                  <a:lnTo>
                    <a:pt x="1458" y="1825"/>
                  </a:lnTo>
                  <a:lnTo>
                    <a:pt x="1722" y="1689"/>
                  </a:lnTo>
                  <a:lnTo>
                    <a:pt x="1722" y="1689"/>
                  </a:lnTo>
                  <a:lnTo>
                    <a:pt x="1777" y="1659"/>
                  </a:lnTo>
                  <a:lnTo>
                    <a:pt x="1776" y="1659"/>
                  </a:lnTo>
                  <a:lnTo>
                    <a:pt x="1772" y="1659"/>
                  </a:lnTo>
                  <a:lnTo>
                    <a:pt x="1765" y="1659"/>
                  </a:lnTo>
                  <a:lnTo>
                    <a:pt x="1752" y="1655"/>
                  </a:lnTo>
                  <a:lnTo>
                    <a:pt x="1735" y="1649"/>
                  </a:lnTo>
                  <a:lnTo>
                    <a:pt x="1734" y="1639"/>
                  </a:lnTo>
                  <a:lnTo>
                    <a:pt x="1734" y="1622"/>
                  </a:lnTo>
                  <a:lnTo>
                    <a:pt x="1734" y="1600"/>
                  </a:lnTo>
                  <a:lnTo>
                    <a:pt x="1735" y="1576"/>
                  </a:lnTo>
                  <a:lnTo>
                    <a:pt x="1738" y="1551"/>
                  </a:lnTo>
                  <a:lnTo>
                    <a:pt x="1744" y="1529"/>
                  </a:lnTo>
                  <a:lnTo>
                    <a:pt x="1753" y="1509"/>
                  </a:lnTo>
                  <a:lnTo>
                    <a:pt x="1772" y="1488"/>
                  </a:lnTo>
                  <a:lnTo>
                    <a:pt x="1786" y="1462"/>
                  </a:lnTo>
                  <a:lnTo>
                    <a:pt x="1799" y="1431"/>
                  </a:lnTo>
                  <a:lnTo>
                    <a:pt x="1811" y="1395"/>
                  </a:lnTo>
                  <a:lnTo>
                    <a:pt x="1820" y="1358"/>
                  </a:lnTo>
                  <a:lnTo>
                    <a:pt x="1829" y="1317"/>
                  </a:lnTo>
                  <a:lnTo>
                    <a:pt x="1837" y="1276"/>
                  </a:lnTo>
                  <a:lnTo>
                    <a:pt x="1844" y="1234"/>
                  </a:lnTo>
                  <a:lnTo>
                    <a:pt x="1853" y="1194"/>
                  </a:lnTo>
                  <a:lnTo>
                    <a:pt x="1861" y="1155"/>
                  </a:lnTo>
                  <a:lnTo>
                    <a:pt x="1871" y="1119"/>
                  </a:lnTo>
                  <a:lnTo>
                    <a:pt x="1888" y="1114"/>
                  </a:lnTo>
                  <a:lnTo>
                    <a:pt x="1905" y="1105"/>
                  </a:lnTo>
                  <a:lnTo>
                    <a:pt x="1922" y="1090"/>
                  </a:lnTo>
                  <a:lnTo>
                    <a:pt x="1938" y="1073"/>
                  </a:lnTo>
                  <a:lnTo>
                    <a:pt x="1951" y="1053"/>
                  </a:lnTo>
                  <a:lnTo>
                    <a:pt x="1964" y="1029"/>
                  </a:lnTo>
                  <a:lnTo>
                    <a:pt x="1975" y="1005"/>
                  </a:lnTo>
                  <a:lnTo>
                    <a:pt x="1984" y="979"/>
                  </a:lnTo>
                  <a:lnTo>
                    <a:pt x="1991" y="953"/>
                  </a:lnTo>
                  <a:lnTo>
                    <a:pt x="1994" y="926"/>
                  </a:lnTo>
                  <a:lnTo>
                    <a:pt x="1996" y="901"/>
                  </a:lnTo>
                  <a:lnTo>
                    <a:pt x="1994" y="876"/>
                  </a:lnTo>
                  <a:lnTo>
                    <a:pt x="1988" y="854"/>
                  </a:lnTo>
                  <a:lnTo>
                    <a:pt x="1979" y="834"/>
                  </a:lnTo>
                  <a:lnTo>
                    <a:pt x="1966" y="817"/>
                  </a:lnTo>
                  <a:lnTo>
                    <a:pt x="1949" y="804"/>
                  </a:lnTo>
                  <a:lnTo>
                    <a:pt x="1926" y="795"/>
                  </a:lnTo>
                  <a:lnTo>
                    <a:pt x="1928" y="778"/>
                  </a:lnTo>
                  <a:lnTo>
                    <a:pt x="1930" y="757"/>
                  </a:lnTo>
                  <a:lnTo>
                    <a:pt x="1936" y="734"/>
                  </a:lnTo>
                  <a:lnTo>
                    <a:pt x="1939" y="712"/>
                  </a:lnTo>
                  <a:lnTo>
                    <a:pt x="1942" y="693"/>
                  </a:lnTo>
                  <a:lnTo>
                    <a:pt x="1942" y="674"/>
                  </a:lnTo>
                  <a:lnTo>
                    <a:pt x="1939" y="623"/>
                  </a:lnTo>
                  <a:lnTo>
                    <a:pt x="1937" y="569"/>
                  </a:lnTo>
                  <a:lnTo>
                    <a:pt x="1934" y="518"/>
                  </a:lnTo>
                  <a:lnTo>
                    <a:pt x="1932" y="466"/>
                  </a:lnTo>
                  <a:lnTo>
                    <a:pt x="1926" y="416"/>
                  </a:lnTo>
                  <a:lnTo>
                    <a:pt x="1918" y="368"/>
                  </a:lnTo>
                  <a:lnTo>
                    <a:pt x="1907" y="321"/>
                  </a:lnTo>
                  <a:lnTo>
                    <a:pt x="1891" y="278"/>
                  </a:lnTo>
                  <a:lnTo>
                    <a:pt x="1865" y="241"/>
                  </a:lnTo>
                  <a:lnTo>
                    <a:pt x="1841" y="207"/>
                  </a:lnTo>
                  <a:lnTo>
                    <a:pt x="1818" y="175"/>
                  </a:lnTo>
                  <a:lnTo>
                    <a:pt x="1795" y="147"/>
                  </a:lnTo>
                  <a:lnTo>
                    <a:pt x="1773" y="122"/>
                  </a:lnTo>
                  <a:lnTo>
                    <a:pt x="1748" y="98"/>
                  </a:lnTo>
                  <a:lnTo>
                    <a:pt x="1723" y="79"/>
                  </a:lnTo>
                  <a:lnTo>
                    <a:pt x="1695" y="60"/>
                  </a:lnTo>
                  <a:lnTo>
                    <a:pt x="1663" y="45"/>
                  </a:lnTo>
                  <a:lnTo>
                    <a:pt x="1628" y="31"/>
                  </a:lnTo>
                  <a:lnTo>
                    <a:pt x="1588" y="21"/>
                  </a:lnTo>
                  <a:lnTo>
                    <a:pt x="1543" y="12"/>
                  </a:lnTo>
                  <a:lnTo>
                    <a:pt x="1492" y="5"/>
                  </a:lnTo>
                  <a:lnTo>
                    <a:pt x="1433" y="0"/>
                  </a:lnTo>
                  <a:lnTo>
                    <a:pt x="1399" y="1"/>
                  </a:lnTo>
                  <a:lnTo>
                    <a:pt x="1361" y="7"/>
                  </a:lnTo>
                  <a:lnTo>
                    <a:pt x="1323" y="13"/>
                  </a:lnTo>
                  <a:lnTo>
                    <a:pt x="1282" y="22"/>
                  </a:lnTo>
                  <a:lnTo>
                    <a:pt x="1241" y="34"/>
                  </a:lnTo>
                  <a:lnTo>
                    <a:pt x="1202" y="47"/>
                  </a:lnTo>
                  <a:lnTo>
                    <a:pt x="1164" y="64"/>
                  </a:lnTo>
                  <a:lnTo>
                    <a:pt x="1129" y="81"/>
                  </a:lnTo>
                  <a:lnTo>
                    <a:pt x="1096" y="102"/>
                  </a:lnTo>
                  <a:lnTo>
                    <a:pt x="1067" y="123"/>
                  </a:lnTo>
                  <a:lnTo>
                    <a:pt x="1044" y="147"/>
                  </a:lnTo>
                  <a:lnTo>
                    <a:pt x="1025" y="173"/>
                  </a:lnTo>
                  <a:lnTo>
                    <a:pt x="1015" y="199"/>
                  </a:lnTo>
                  <a:lnTo>
                    <a:pt x="1011" y="226"/>
                  </a:lnTo>
                  <a:lnTo>
                    <a:pt x="986" y="229"/>
                  </a:lnTo>
                  <a:lnTo>
                    <a:pt x="965" y="236"/>
                  </a:lnTo>
                  <a:lnTo>
                    <a:pt x="948" y="245"/>
                  </a:lnTo>
                  <a:lnTo>
                    <a:pt x="934" y="261"/>
                  </a:lnTo>
                  <a:lnTo>
                    <a:pt x="922" y="280"/>
                  </a:lnTo>
                  <a:lnTo>
                    <a:pt x="911" y="305"/>
                  </a:lnTo>
                  <a:lnTo>
                    <a:pt x="901" y="334"/>
                  </a:lnTo>
                  <a:lnTo>
                    <a:pt x="892" y="376"/>
                  </a:lnTo>
                  <a:lnTo>
                    <a:pt x="883" y="416"/>
                  </a:lnTo>
                  <a:lnTo>
                    <a:pt x="876" y="456"/>
                  </a:lnTo>
                  <a:lnTo>
                    <a:pt x="871" y="495"/>
                  </a:lnTo>
                  <a:lnTo>
                    <a:pt x="868" y="535"/>
                  </a:lnTo>
                  <a:lnTo>
                    <a:pt x="866" y="580"/>
                  </a:lnTo>
                  <a:lnTo>
                    <a:pt x="867" y="630"/>
                  </a:lnTo>
                  <a:lnTo>
                    <a:pt x="868" y="685"/>
                  </a:lnTo>
                  <a:lnTo>
                    <a:pt x="868" y="700"/>
                  </a:lnTo>
                  <a:lnTo>
                    <a:pt x="871" y="719"/>
                  </a:lnTo>
                  <a:lnTo>
                    <a:pt x="876" y="741"/>
                  </a:lnTo>
                  <a:lnTo>
                    <a:pt x="880" y="762"/>
                  </a:lnTo>
                  <a:lnTo>
                    <a:pt x="885" y="784"/>
                  </a:lnTo>
                  <a:lnTo>
                    <a:pt x="888" y="804"/>
                  </a:lnTo>
                  <a:lnTo>
                    <a:pt x="889" y="819"/>
                  </a:lnTo>
                  <a:lnTo>
                    <a:pt x="867" y="833"/>
                  </a:lnTo>
                  <a:lnTo>
                    <a:pt x="851" y="850"/>
                  </a:lnTo>
                  <a:lnTo>
                    <a:pt x="839" y="871"/>
                  </a:lnTo>
                  <a:lnTo>
                    <a:pt x="832" y="891"/>
                  </a:lnTo>
                  <a:lnTo>
                    <a:pt x="829" y="915"/>
                  </a:lnTo>
                  <a:lnTo>
                    <a:pt x="830" y="940"/>
                  </a:lnTo>
                  <a:lnTo>
                    <a:pt x="835" y="965"/>
                  </a:lnTo>
                  <a:lnTo>
                    <a:pt x="843" y="991"/>
                  </a:lnTo>
                  <a:lnTo>
                    <a:pt x="854" y="1015"/>
                  </a:lnTo>
                  <a:lnTo>
                    <a:pt x="867" y="1039"/>
                  </a:lnTo>
                  <a:lnTo>
                    <a:pt x="881" y="1062"/>
                  </a:lnTo>
                  <a:lnTo>
                    <a:pt x="897" y="1081"/>
                  </a:lnTo>
                  <a:lnTo>
                    <a:pt x="914" y="1100"/>
                  </a:lnTo>
                  <a:lnTo>
                    <a:pt x="932" y="1114"/>
                  </a:lnTo>
                  <a:lnTo>
                    <a:pt x="951" y="1126"/>
                  </a:lnTo>
                  <a:lnTo>
                    <a:pt x="969" y="1132"/>
                  </a:lnTo>
                  <a:lnTo>
                    <a:pt x="986" y="1135"/>
                  </a:lnTo>
                  <a:lnTo>
                    <a:pt x="998" y="1176"/>
                  </a:lnTo>
                  <a:lnTo>
                    <a:pt x="1010" y="1219"/>
                  </a:lnTo>
                  <a:lnTo>
                    <a:pt x="1023" y="1262"/>
                  </a:lnTo>
                  <a:lnTo>
                    <a:pt x="1035" y="1308"/>
                  </a:lnTo>
                  <a:lnTo>
                    <a:pt x="1049" y="1351"/>
                  </a:lnTo>
                  <a:lnTo>
                    <a:pt x="1063" y="1393"/>
                  </a:lnTo>
                  <a:lnTo>
                    <a:pt x="1079" y="1431"/>
                  </a:lnTo>
                  <a:lnTo>
                    <a:pt x="1096" y="1464"/>
                  </a:lnTo>
                  <a:lnTo>
                    <a:pt x="1113" y="1491"/>
                  </a:lnTo>
                  <a:lnTo>
                    <a:pt x="1133" y="1511"/>
                  </a:lnTo>
                  <a:lnTo>
                    <a:pt x="1143" y="1525"/>
                  </a:lnTo>
                  <a:lnTo>
                    <a:pt x="1148" y="1542"/>
                  </a:lnTo>
                  <a:lnTo>
                    <a:pt x="1152" y="1562"/>
                  </a:lnTo>
                  <a:lnTo>
                    <a:pt x="1152" y="1580"/>
                  </a:lnTo>
                  <a:lnTo>
                    <a:pt x="1150" y="1600"/>
                  </a:lnTo>
                  <a:lnTo>
                    <a:pt x="1147" y="1615"/>
                  </a:lnTo>
                  <a:lnTo>
                    <a:pt x="1145" y="1630"/>
                  </a:lnTo>
                  <a:lnTo>
                    <a:pt x="1142" y="1638"/>
                  </a:lnTo>
                  <a:lnTo>
                    <a:pt x="1126" y="1643"/>
                  </a:lnTo>
                  <a:lnTo>
                    <a:pt x="1112" y="1648"/>
                  </a:lnTo>
                  <a:lnTo>
                    <a:pt x="1099" y="1652"/>
                  </a:lnTo>
                  <a:lnTo>
                    <a:pt x="1082" y="1659"/>
                  </a:lnTo>
                  <a:lnTo>
                    <a:pt x="1079" y="1661"/>
                  </a:lnTo>
                  <a:lnTo>
                    <a:pt x="1070" y="1666"/>
                  </a:lnTo>
                  <a:lnTo>
                    <a:pt x="1058" y="1674"/>
                  </a:lnTo>
                  <a:lnTo>
                    <a:pt x="1041" y="1686"/>
                  </a:lnTo>
                  <a:lnTo>
                    <a:pt x="1021" y="1699"/>
                  </a:lnTo>
                  <a:lnTo>
                    <a:pt x="999" y="1715"/>
                  </a:lnTo>
                  <a:lnTo>
                    <a:pt x="976" y="1733"/>
                  </a:lnTo>
                  <a:lnTo>
                    <a:pt x="951" y="1752"/>
                  </a:lnTo>
                  <a:lnTo>
                    <a:pt x="925" y="1773"/>
                  </a:lnTo>
                  <a:lnTo>
                    <a:pt x="900" y="1793"/>
                  </a:lnTo>
                  <a:lnTo>
                    <a:pt x="875" y="1814"/>
                  </a:lnTo>
                  <a:lnTo>
                    <a:pt x="851" y="1837"/>
                  </a:lnTo>
                  <a:lnTo>
                    <a:pt x="830" y="1858"/>
                  </a:lnTo>
                  <a:lnTo>
                    <a:pt x="812" y="1879"/>
                  </a:lnTo>
                  <a:lnTo>
                    <a:pt x="765" y="1903"/>
                  </a:lnTo>
                  <a:lnTo>
                    <a:pt x="719" y="1924"/>
                  </a:lnTo>
                  <a:lnTo>
                    <a:pt x="672" y="1943"/>
                  </a:lnTo>
                  <a:lnTo>
                    <a:pt x="625" y="1958"/>
                  </a:lnTo>
                  <a:lnTo>
                    <a:pt x="579" y="1971"/>
                  </a:lnTo>
                  <a:lnTo>
                    <a:pt x="532" y="1983"/>
                  </a:lnTo>
                  <a:lnTo>
                    <a:pt x="487" y="1994"/>
                  </a:lnTo>
                  <a:lnTo>
                    <a:pt x="443" y="2003"/>
                  </a:lnTo>
                  <a:lnTo>
                    <a:pt x="401" y="2012"/>
                  </a:lnTo>
                  <a:lnTo>
                    <a:pt x="360" y="2021"/>
                  </a:lnTo>
                  <a:lnTo>
                    <a:pt x="321" y="2030"/>
                  </a:lnTo>
                  <a:lnTo>
                    <a:pt x="284" y="2041"/>
                  </a:lnTo>
                  <a:lnTo>
                    <a:pt x="249" y="2053"/>
                  </a:lnTo>
                  <a:lnTo>
                    <a:pt x="217" y="2067"/>
                  </a:lnTo>
                  <a:lnTo>
                    <a:pt x="189" y="2083"/>
                  </a:lnTo>
                  <a:lnTo>
                    <a:pt x="164" y="2101"/>
                  </a:lnTo>
                  <a:lnTo>
                    <a:pt x="141" y="2123"/>
                  </a:lnTo>
                  <a:lnTo>
                    <a:pt x="122" y="2148"/>
                  </a:lnTo>
                  <a:lnTo>
                    <a:pt x="107" y="2177"/>
                  </a:lnTo>
                  <a:lnTo>
                    <a:pt x="98" y="2211"/>
                  </a:lnTo>
                  <a:lnTo>
                    <a:pt x="92" y="2250"/>
                  </a:lnTo>
                  <a:lnTo>
                    <a:pt x="85" y="2321"/>
                  </a:lnTo>
                  <a:lnTo>
                    <a:pt x="77" y="2396"/>
                  </a:lnTo>
                  <a:lnTo>
                    <a:pt x="68" y="2472"/>
                  </a:lnTo>
                  <a:lnTo>
                    <a:pt x="58" y="2549"/>
                  </a:lnTo>
                  <a:lnTo>
                    <a:pt x="46" y="2623"/>
                  </a:lnTo>
                  <a:lnTo>
                    <a:pt x="34" y="2697"/>
                  </a:lnTo>
                  <a:lnTo>
                    <a:pt x="22" y="2767"/>
                  </a:lnTo>
                  <a:lnTo>
                    <a:pt x="10" y="2832"/>
                  </a:lnTo>
                  <a:lnTo>
                    <a:pt x="0" y="2888"/>
                  </a:lnTo>
                  <a:lnTo>
                    <a:pt x="3" y="2907"/>
                  </a:lnTo>
                  <a:lnTo>
                    <a:pt x="13" y="2926"/>
                  </a:lnTo>
                  <a:lnTo>
                    <a:pt x="31" y="2943"/>
                  </a:lnTo>
                  <a:lnTo>
                    <a:pt x="59" y="2960"/>
                  </a:lnTo>
                  <a:lnTo>
                    <a:pt x="93" y="2974"/>
                  </a:lnTo>
                  <a:lnTo>
                    <a:pt x="134" y="2989"/>
                  </a:lnTo>
                  <a:lnTo>
                    <a:pt x="182" y="3002"/>
                  </a:lnTo>
                  <a:lnTo>
                    <a:pt x="236" y="3015"/>
                  </a:lnTo>
                  <a:lnTo>
                    <a:pt x="296" y="3027"/>
                  </a:lnTo>
                  <a:lnTo>
                    <a:pt x="360" y="3037"/>
                  </a:lnTo>
                  <a:lnTo>
                    <a:pt x="431" y="3046"/>
                  </a:lnTo>
                  <a:lnTo>
                    <a:pt x="505" y="3055"/>
                  </a:lnTo>
                  <a:lnTo>
                    <a:pt x="585" y="3063"/>
                  </a:lnTo>
                  <a:lnTo>
                    <a:pt x="668" y="3070"/>
                  </a:lnTo>
                  <a:lnTo>
                    <a:pt x="754" y="3076"/>
                  </a:lnTo>
                  <a:lnTo>
                    <a:pt x="843" y="3082"/>
                  </a:lnTo>
                  <a:lnTo>
                    <a:pt x="935" y="3086"/>
                  </a:lnTo>
                  <a:lnTo>
                    <a:pt x="1029" y="3089"/>
                  </a:lnTo>
                  <a:lnTo>
                    <a:pt x="1125" y="3092"/>
                  </a:lnTo>
                  <a:lnTo>
                    <a:pt x="1222" y="3093"/>
                  </a:lnTo>
                  <a:lnTo>
                    <a:pt x="1320" y="3095"/>
                  </a:lnTo>
                  <a:lnTo>
                    <a:pt x="1418" y="3095"/>
                  </a:lnTo>
                  <a:lnTo>
                    <a:pt x="1518" y="3095"/>
                  </a:lnTo>
                  <a:lnTo>
                    <a:pt x="1616" y="3093"/>
                  </a:lnTo>
                  <a:lnTo>
                    <a:pt x="1714" y="3091"/>
                  </a:lnTo>
                  <a:lnTo>
                    <a:pt x="1812" y="3088"/>
                  </a:lnTo>
                  <a:lnTo>
                    <a:pt x="1908" y="3084"/>
                  </a:lnTo>
                  <a:lnTo>
                    <a:pt x="2001" y="3079"/>
                  </a:lnTo>
                  <a:lnTo>
                    <a:pt x="2093" y="3074"/>
                  </a:lnTo>
                  <a:lnTo>
                    <a:pt x="2182" y="3067"/>
                  </a:lnTo>
                  <a:lnTo>
                    <a:pt x="2268" y="3061"/>
                  </a:lnTo>
                  <a:lnTo>
                    <a:pt x="2351" y="3053"/>
                  </a:lnTo>
                  <a:lnTo>
                    <a:pt x="2429" y="3045"/>
                  </a:lnTo>
                  <a:lnTo>
                    <a:pt x="2504" y="3036"/>
                  </a:lnTo>
                  <a:lnTo>
                    <a:pt x="2575" y="3025"/>
                  </a:lnTo>
                  <a:lnTo>
                    <a:pt x="2639" y="3015"/>
                  </a:lnTo>
                  <a:lnTo>
                    <a:pt x="2698" y="3003"/>
                  </a:lnTo>
                  <a:lnTo>
                    <a:pt x="2751" y="2991"/>
                  </a:lnTo>
                  <a:lnTo>
                    <a:pt x="2799" y="2978"/>
                  </a:lnTo>
                  <a:lnTo>
                    <a:pt x="2840" y="2965"/>
                  </a:lnTo>
                  <a:lnTo>
                    <a:pt x="2873" y="2951"/>
                  </a:lnTo>
                  <a:lnTo>
                    <a:pt x="2899" y="2936"/>
                  </a:lnTo>
                  <a:lnTo>
                    <a:pt x="2918" y="2921"/>
                  </a:lnTo>
                  <a:lnTo>
                    <a:pt x="2928" y="2905"/>
                  </a:lnTo>
                  <a:lnTo>
                    <a:pt x="2929" y="2888"/>
                  </a:lnTo>
                  <a:close/>
                  <a:moveTo>
                    <a:pt x="1319" y="3057"/>
                  </a:moveTo>
                  <a:lnTo>
                    <a:pt x="1285" y="3007"/>
                  </a:lnTo>
                  <a:lnTo>
                    <a:pt x="1251" y="2953"/>
                  </a:lnTo>
                  <a:lnTo>
                    <a:pt x="1218" y="2896"/>
                  </a:lnTo>
                  <a:lnTo>
                    <a:pt x="1185" y="2835"/>
                  </a:lnTo>
                  <a:lnTo>
                    <a:pt x="1155" y="2771"/>
                  </a:lnTo>
                  <a:lnTo>
                    <a:pt x="1126" y="2705"/>
                  </a:lnTo>
                  <a:lnTo>
                    <a:pt x="1099" y="2634"/>
                  </a:lnTo>
                  <a:lnTo>
                    <a:pt x="1076" y="2561"/>
                  </a:lnTo>
                  <a:lnTo>
                    <a:pt x="1055" y="2483"/>
                  </a:lnTo>
                  <a:lnTo>
                    <a:pt x="1040" y="2403"/>
                  </a:lnTo>
                  <a:lnTo>
                    <a:pt x="1028" y="2321"/>
                  </a:lnTo>
                  <a:lnTo>
                    <a:pt x="1021" y="2236"/>
                  </a:lnTo>
                  <a:lnTo>
                    <a:pt x="1020" y="2147"/>
                  </a:lnTo>
                  <a:lnTo>
                    <a:pt x="1024" y="2055"/>
                  </a:lnTo>
                  <a:lnTo>
                    <a:pt x="1036" y="1962"/>
                  </a:lnTo>
                  <a:lnTo>
                    <a:pt x="1053" y="1865"/>
                  </a:lnTo>
                  <a:lnTo>
                    <a:pt x="1054" y="1859"/>
                  </a:lnTo>
                  <a:lnTo>
                    <a:pt x="1052" y="1852"/>
                  </a:lnTo>
                  <a:lnTo>
                    <a:pt x="1048" y="1845"/>
                  </a:lnTo>
                  <a:lnTo>
                    <a:pt x="1042" y="1834"/>
                  </a:lnTo>
                  <a:lnTo>
                    <a:pt x="1037" y="1821"/>
                  </a:lnTo>
                  <a:lnTo>
                    <a:pt x="1033" y="1803"/>
                  </a:lnTo>
                  <a:lnTo>
                    <a:pt x="1045" y="1775"/>
                  </a:lnTo>
                  <a:lnTo>
                    <a:pt x="1059" y="1744"/>
                  </a:lnTo>
                  <a:lnTo>
                    <a:pt x="1074" y="1712"/>
                  </a:lnTo>
                  <a:lnTo>
                    <a:pt x="1090" y="1681"/>
                  </a:lnTo>
                  <a:lnTo>
                    <a:pt x="1105" y="1652"/>
                  </a:lnTo>
                  <a:lnTo>
                    <a:pt x="1160" y="1683"/>
                  </a:lnTo>
                  <a:lnTo>
                    <a:pt x="1194" y="1703"/>
                  </a:lnTo>
                  <a:lnTo>
                    <a:pt x="1412" y="1824"/>
                  </a:lnTo>
                  <a:lnTo>
                    <a:pt x="1222" y="2146"/>
                  </a:lnTo>
                  <a:lnTo>
                    <a:pt x="1224" y="2143"/>
                  </a:lnTo>
                  <a:lnTo>
                    <a:pt x="1230" y="2135"/>
                  </a:lnTo>
                  <a:lnTo>
                    <a:pt x="1238" y="2125"/>
                  </a:lnTo>
                  <a:lnTo>
                    <a:pt x="1248" y="2110"/>
                  </a:lnTo>
                  <a:lnTo>
                    <a:pt x="1261" y="2093"/>
                  </a:lnTo>
                  <a:lnTo>
                    <a:pt x="1275" y="2075"/>
                  </a:lnTo>
                  <a:lnTo>
                    <a:pt x="1291" y="2055"/>
                  </a:lnTo>
                  <a:lnTo>
                    <a:pt x="1307" y="2036"/>
                  </a:lnTo>
                  <a:lnTo>
                    <a:pt x="1324" y="2017"/>
                  </a:lnTo>
                  <a:lnTo>
                    <a:pt x="1340" y="1999"/>
                  </a:lnTo>
                  <a:lnTo>
                    <a:pt x="1355" y="1985"/>
                  </a:lnTo>
                  <a:lnTo>
                    <a:pt x="1370" y="1973"/>
                  </a:lnTo>
                  <a:lnTo>
                    <a:pt x="1376" y="1973"/>
                  </a:lnTo>
                  <a:lnTo>
                    <a:pt x="1380" y="1977"/>
                  </a:lnTo>
                  <a:lnTo>
                    <a:pt x="1385" y="1985"/>
                  </a:lnTo>
                  <a:lnTo>
                    <a:pt x="1389" y="1992"/>
                  </a:lnTo>
                  <a:lnTo>
                    <a:pt x="1395" y="2002"/>
                  </a:lnTo>
                  <a:lnTo>
                    <a:pt x="1403" y="2009"/>
                  </a:lnTo>
                  <a:lnTo>
                    <a:pt x="1412" y="2013"/>
                  </a:lnTo>
                  <a:lnTo>
                    <a:pt x="1401" y="2070"/>
                  </a:lnTo>
                  <a:lnTo>
                    <a:pt x="1389" y="2134"/>
                  </a:lnTo>
                  <a:lnTo>
                    <a:pt x="1376" y="2205"/>
                  </a:lnTo>
                  <a:lnTo>
                    <a:pt x="1363" y="2282"/>
                  </a:lnTo>
                  <a:lnTo>
                    <a:pt x="1351" y="2364"/>
                  </a:lnTo>
                  <a:lnTo>
                    <a:pt x="1338" y="2452"/>
                  </a:lnTo>
                  <a:lnTo>
                    <a:pt x="1329" y="2545"/>
                  </a:lnTo>
                  <a:lnTo>
                    <a:pt x="1320" y="2642"/>
                  </a:lnTo>
                  <a:lnTo>
                    <a:pt x="1315" y="2741"/>
                  </a:lnTo>
                  <a:lnTo>
                    <a:pt x="1312" y="2845"/>
                  </a:lnTo>
                  <a:lnTo>
                    <a:pt x="1313" y="2949"/>
                  </a:lnTo>
                  <a:lnTo>
                    <a:pt x="1319" y="305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514419">
                <a:defRPr/>
              </a:pPr>
              <a:endParaRPr lang="en-US" sz="1000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</p:grpSp>
      <p:pic>
        <p:nvPicPr>
          <p:cNvPr id="70" name="Picture 69">
            <a:extLst>
              <a:ext uri="{FF2B5EF4-FFF2-40B4-BE49-F238E27FC236}">
                <a16:creationId xmlns:a16="http://schemas.microsoft.com/office/drawing/2014/main" id="{B63CDDB1-3A3F-43F8-B4A5-1AFC2EDDDDD7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25000"/>
          </a:blip>
          <a:stretch>
            <a:fillRect/>
          </a:stretch>
        </p:blipFill>
        <p:spPr>
          <a:xfrm>
            <a:off x="1520949" y="3431801"/>
            <a:ext cx="414082" cy="394541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D6CB9A35-7956-4B30-9F58-63C2A5B1F7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30710" y="848968"/>
            <a:ext cx="285452" cy="271981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C5B56F60-1AFB-42AB-A616-13BCF08E79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26436" y="2106337"/>
            <a:ext cx="294264" cy="280378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0A930A1F-2684-455C-8963-D78E7ACAD6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20096" y="2057108"/>
            <a:ext cx="435771" cy="415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2896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2E6C88B-39FB-409F-8F53-50F69DED51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9"/>
            <a:ext cx="7886700" cy="577081"/>
          </a:xfrm>
        </p:spPr>
        <p:txBody>
          <a:bodyPr/>
          <a:lstStyle/>
          <a:p>
            <a:r>
              <a:rPr lang="en-US" dirty="0"/>
              <a:t>YASH Team – Roles &amp; Responsibilities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42" name="Table 41">
            <a:extLst>
              <a:ext uri="{FF2B5EF4-FFF2-40B4-BE49-F238E27FC236}">
                <a16:creationId xmlns:a16="http://schemas.microsoft.com/office/drawing/2014/main" id="{A39CAFF7-7BB5-428D-8C34-09FE9B976D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6946731"/>
              </p:ext>
            </p:extLst>
          </p:nvPr>
        </p:nvGraphicFramePr>
        <p:xfrm>
          <a:off x="531621" y="803256"/>
          <a:ext cx="8242616" cy="4230926"/>
        </p:xfrm>
        <a:graphic>
          <a:graphicData uri="http://schemas.openxmlformats.org/drawingml/2006/table">
            <a:tbl>
              <a:tblPr firstRow="1" bandRow="1"/>
              <a:tblGrid>
                <a:gridCol w="1119970">
                  <a:extLst>
                    <a:ext uri="{9D8B030D-6E8A-4147-A177-3AD203B41FA5}">
                      <a16:colId xmlns:a16="http://schemas.microsoft.com/office/drawing/2014/main" val="4086092224"/>
                    </a:ext>
                  </a:extLst>
                </a:gridCol>
                <a:gridCol w="1850065">
                  <a:extLst>
                    <a:ext uri="{9D8B030D-6E8A-4147-A177-3AD203B41FA5}">
                      <a16:colId xmlns:a16="http://schemas.microsoft.com/office/drawing/2014/main" val="1911392600"/>
                    </a:ext>
                  </a:extLst>
                </a:gridCol>
                <a:gridCol w="1282995">
                  <a:extLst>
                    <a:ext uri="{9D8B030D-6E8A-4147-A177-3AD203B41FA5}">
                      <a16:colId xmlns:a16="http://schemas.microsoft.com/office/drawing/2014/main" val="1806481564"/>
                    </a:ext>
                  </a:extLst>
                </a:gridCol>
                <a:gridCol w="28424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4714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33459"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1pPr>
                      <a:lvl2pPr marL="609448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2pPr>
                      <a:lvl3pPr marL="1218895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3pPr>
                      <a:lvl4pPr marL="1828343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4pPr>
                      <a:lvl5pPr marL="2437790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5pPr>
                      <a:lvl6pPr marL="3047238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6pPr>
                      <a:lvl7pPr marL="3656686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7pPr>
                      <a:lvl8pPr marL="4266133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8pPr>
                      <a:lvl9pPr marL="4875581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9pPr>
                    </a:lstStyle>
                    <a:p>
                      <a:pPr marL="0" algn="ctr" defTabSz="609365" rtl="0" eaLnBrk="1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ame</a:t>
                      </a:r>
                    </a:p>
                  </a:txBody>
                  <a:tcPr marL="68598" marR="68598" marT="34299" marB="34299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1pPr>
                      <a:lvl2pPr marL="609448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2pPr>
                      <a:lvl3pPr marL="1218895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3pPr>
                      <a:lvl4pPr marL="1828343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4pPr>
                      <a:lvl5pPr marL="2437790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5pPr>
                      <a:lvl6pPr marL="3047238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6pPr>
                      <a:lvl7pPr marL="3656686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7pPr>
                      <a:lvl8pPr marL="4266133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8pPr>
                      <a:lvl9pPr marL="4875581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6093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mail</a:t>
                      </a:r>
                    </a:p>
                  </a:txBody>
                  <a:tcPr marL="68598" marR="68598" marT="34299" marB="34299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1pPr>
                      <a:lvl2pPr marL="609448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2pPr>
                      <a:lvl3pPr marL="1218895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3pPr>
                      <a:lvl4pPr marL="1828343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4pPr>
                      <a:lvl5pPr marL="2437790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5pPr>
                      <a:lvl6pPr marL="3047238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6pPr>
                      <a:lvl7pPr marL="3656686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7pPr>
                      <a:lvl8pPr marL="4266133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8pPr>
                      <a:lvl9pPr marL="4875581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6093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ole</a:t>
                      </a:r>
                    </a:p>
                  </a:txBody>
                  <a:tcPr marL="68598" marR="68598" marT="34299" marB="34299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1pPr>
                      <a:lvl2pPr marL="609448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2pPr>
                      <a:lvl3pPr marL="1218895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3pPr>
                      <a:lvl4pPr marL="1828343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4pPr>
                      <a:lvl5pPr marL="2437790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5pPr>
                      <a:lvl6pPr marL="3047238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6pPr>
                      <a:lvl7pPr marL="3656686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7pPr>
                      <a:lvl8pPr marL="4266133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8pPr>
                      <a:lvl9pPr marL="4875581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9pPr>
                    </a:lstStyle>
                    <a:p>
                      <a:pPr marL="0" algn="ctr" defTabSz="609365" rtl="0" eaLnBrk="1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sponsibility</a:t>
                      </a:r>
                    </a:p>
                  </a:txBody>
                  <a:tcPr marL="68598" marR="68598" marT="34299" marB="34299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1pPr>
                      <a:lvl2pPr marL="609448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2pPr>
                      <a:lvl3pPr marL="1218895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3pPr>
                      <a:lvl4pPr marL="1828343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4pPr>
                      <a:lvl5pPr marL="2437790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5pPr>
                      <a:lvl6pPr marL="3047238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6pPr>
                      <a:lvl7pPr marL="3656686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7pPr>
                      <a:lvl8pPr marL="4266133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8pPr>
                      <a:lvl9pPr marL="4875581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9pPr>
                    </a:lstStyle>
                    <a:p>
                      <a:pPr marL="0" algn="ctr" defTabSz="609365" rtl="0" eaLnBrk="1" latinLnBrk="0" hangingPunct="1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ocation/Contact</a:t>
                      </a:r>
                    </a:p>
                  </a:txBody>
                  <a:tcPr marL="68598" marR="68598" marT="34299" marB="34299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4436931"/>
                  </a:ext>
                </a:extLst>
              </a:tr>
              <a:tr h="337114">
                <a:tc>
                  <a:txBody>
                    <a:bodyPr/>
                    <a:lstStyle/>
                    <a:p>
                      <a:pPr algn="l" rtl="0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mesh Suryaneni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mesh.Suryaneni@yash.com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lution Architect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aging the solution engineering in relation to specific business problems.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fshore 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5977629"/>
                  </a:ext>
                </a:extLst>
              </a:tr>
              <a:tr h="337114">
                <a:tc>
                  <a:txBody>
                    <a:bodyPr/>
                    <a:lstStyle/>
                    <a:p>
                      <a:pPr algn="l" rtl="0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tul Deshmukh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itul.deshmukh@yash.com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oject Manager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ailed project plan to monitor  , track progress , And weekly status report 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fshore 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26507"/>
                  </a:ext>
                </a:extLst>
              </a:tr>
              <a:tr h="337114">
                <a:tc>
                  <a:txBody>
                    <a:bodyPr/>
                    <a:lstStyle/>
                    <a:p>
                      <a:pPr algn="l" rtl="0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ia Uddin Shaikh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ia.shaikh@yash.com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hnical Java Lead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ign, build, and maintain efficient, reusable, and reliable Java code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fshore 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6362242"/>
                  </a:ext>
                </a:extLst>
              </a:tr>
              <a:tr h="245558">
                <a:tc>
                  <a:txBody>
                    <a:bodyPr/>
                    <a:lstStyle/>
                    <a:p>
                      <a:pPr algn="l" rtl="0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tish Aggarwal 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tish.aggarwal@yash.com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va Developer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rite well designed, testable, efficient code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fshore 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6945">
                <a:tc>
                  <a:txBody>
                    <a:bodyPr/>
                    <a:lstStyle/>
                    <a:p>
                      <a:pPr algn="l" rtl="0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sha Tiwari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sha.tiwari@yash.com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va Developer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rite well designed, testable, efficient code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fshore 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5610">
                <a:tc>
                  <a:txBody>
                    <a:bodyPr/>
                    <a:lstStyle/>
                    <a:p>
                      <a:pPr algn="l" rtl="0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nali Fulsunder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nali.fulsundar@yash.com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unctional Tester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rite test cases and execute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fshore 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0169">
                <a:tc>
                  <a:txBody>
                    <a:bodyPr/>
                    <a:lstStyle/>
                    <a:p>
                      <a:pPr algn="l" rtl="0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lshan Kumar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lshan.kumar@yash.com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WS Infra Developer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ting up AWS infrastructure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fshore 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6488"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sh Neema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shn@yash.com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ivery Manager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verall project delivery/execution and Client interaction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site</a:t>
                      </a: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6488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shikant Purohit </a:t>
                      </a:r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shikant.purohit@yash.com</a:t>
                      </a:r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0" algn="l" defTabSz="685800" rtl="0" eaLnBrk="1" fontAlgn="t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oject Oversight</a:t>
                      </a:r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oject liaison between Yash and  Coursera teams. Yash SF team Project management.</a:t>
                      </a:r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nshore</a:t>
                      </a:r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3881516"/>
                  </a:ext>
                </a:extLst>
              </a:tr>
              <a:tr h="502538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awaid Allam</a:t>
                      </a:r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awaid.Allam@yash.com</a:t>
                      </a:r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F LMS Functional Consultant</a:t>
                      </a:r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nfigure SF LMS system. Assist in SF related testing </a:t>
                      </a:r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algn="l" fontAlgn="t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ffshore</a:t>
                      </a:r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8106217"/>
                  </a:ext>
                </a:extLst>
              </a:tr>
              <a:tr h="502538"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gesh Venkat Polu</a:t>
                      </a:r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algn="l" fontAlgn="t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t" latinLnBrk="0" hangingPunct="1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gesh.Polu@yash.com</a:t>
                      </a:r>
                    </a:p>
                    <a:p>
                      <a:pPr marL="0" algn="l" defTabSz="685800" rtl="0" eaLnBrk="1" fontAlgn="t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F LMS Functional Consultant</a:t>
                      </a:r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nfigure SF LMS system and Integration Center. Assist in SF related  testing </a:t>
                      </a:r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ffshore</a:t>
                      </a:r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6838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65320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BAEDEE-31FB-4DB6-A65C-875179FB7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9"/>
            <a:ext cx="7886700" cy="288541"/>
          </a:xfrm>
        </p:spPr>
        <p:txBody>
          <a:bodyPr/>
          <a:lstStyle/>
          <a:p>
            <a:r>
              <a:rPr lang="en-US" dirty="0"/>
              <a:t>Coursera Team – Key Contact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39CAFF7-7BB5-428D-8C34-09FE9B976D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7507481"/>
              </p:ext>
            </p:extLst>
          </p:nvPr>
        </p:nvGraphicFramePr>
        <p:xfrm>
          <a:off x="1063276" y="1584720"/>
          <a:ext cx="6627607" cy="1068828"/>
        </p:xfrm>
        <a:graphic>
          <a:graphicData uri="http://schemas.openxmlformats.org/drawingml/2006/table">
            <a:tbl>
              <a:tblPr firstRow="1" bandRow="1"/>
              <a:tblGrid>
                <a:gridCol w="2737005">
                  <a:extLst>
                    <a:ext uri="{9D8B030D-6E8A-4147-A177-3AD203B41FA5}">
                      <a16:colId xmlns:a16="http://schemas.microsoft.com/office/drawing/2014/main" val="4086092224"/>
                    </a:ext>
                  </a:extLst>
                </a:gridCol>
                <a:gridCol w="3890602">
                  <a:extLst>
                    <a:ext uri="{9D8B030D-6E8A-4147-A177-3AD203B41FA5}">
                      <a16:colId xmlns:a16="http://schemas.microsoft.com/office/drawing/2014/main" val="1911392600"/>
                    </a:ext>
                  </a:extLst>
                </a:gridCol>
              </a:tblGrid>
              <a:tr h="249114"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1pPr>
                      <a:lvl2pPr marL="609448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2pPr>
                      <a:lvl3pPr marL="1218895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3pPr>
                      <a:lvl4pPr marL="1828343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4pPr>
                      <a:lvl5pPr marL="2437790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5pPr>
                      <a:lvl6pPr marL="3047238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6pPr>
                      <a:lvl7pPr marL="3656686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7pPr>
                      <a:lvl8pPr marL="4266133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8pPr>
                      <a:lvl9pPr marL="4875581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9pPr>
                    </a:lstStyle>
                    <a:p>
                      <a:pPr marL="0" algn="ctr" defTabSz="609365" rtl="0" eaLnBrk="1" latinLnBrk="0" hangingPunct="1"/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ame</a:t>
                      </a:r>
                    </a:p>
                  </a:txBody>
                  <a:tcPr marL="68598" marR="68598" marT="34299" marB="34299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0"/>
                    </a:solidFill>
                  </a:tcPr>
                </a:tc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1pPr>
                      <a:lvl2pPr marL="609448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2pPr>
                      <a:lvl3pPr marL="1218895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3pPr>
                      <a:lvl4pPr marL="1828343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4pPr>
                      <a:lvl5pPr marL="2437790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5pPr>
                      <a:lvl6pPr marL="3047238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6pPr>
                      <a:lvl7pPr marL="3656686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7pPr>
                      <a:lvl8pPr marL="4266133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8pPr>
                      <a:lvl9pPr marL="4875581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9pPr>
                    </a:lstStyle>
                    <a:p>
                      <a:pPr marL="0" marR="0" lvl="0" indent="0" algn="ctr" defTabSz="6093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mail Address</a:t>
                      </a:r>
                    </a:p>
                  </a:txBody>
                  <a:tcPr marL="68598" marR="68598" marT="34299" marB="34299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4436931"/>
                  </a:ext>
                </a:extLst>
              </a:tr>
              <a:tr h="352512">
                <a:tc>
                  <a:txBody>
                    <a:bodyPr/>
                    <a:lstStyle/>
                    <a:p>
                      <a:pPr marL="0" indent="0" algn="l" defTabSz="609365" rtl="0" eaLnBrk="1" latinLnBrk="0" hangingPunct="1">
                        <a:buFont typeface="+mj-lt"/>
                        <a:buNone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manshu Koshe</a:t>
                      </a:r>
                    </a:p>
                  </a:txBody>
                  <a:tcPr marL="68598" marR="68598" marT="34299" marB="34299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3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koshe@coursera.org</a:t>
                      </a:r>
                    </a:p>
                  </a:txBody>
                  <a:tcPr marL="68598" marR="68598" marT="34299" marB="34299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2622149"/>
                  </a:ext>
                </a:extLst>
              </a:tr>
              <a:tr h="352512"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Trebuchet MS"/>
                        </a:defRPr>
                      </a:lvl1pPr>
                      <a:lvl2pPr marL="60944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Trebuchet MS"/>
                        </a:defRPr>
                      </a:lvl2pPr>
                      <a:lvl3pPr marL="1218895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Trebuchet MS"/>
                        </a:defRPr>
                      </a:lvl3pPr>
                      <a:lvl4pPr marL="182834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Trebuchet MS"/>
                        </a:defRPr>
                      </a:lvl4pPr>
                      <a:lvl5pPr marL="243779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Trebuchet MS"/>
                        </a:defRPr>
                      </a:lvl5pPr>
                      <a:lvl6pPr marL="304723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Trebuchet MS"/>
                        </a:defRPr>
                      </a:lvl6pPr>
                      <a:lvl7pPr marL="3656686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Trebuchet MS"/>
                        </a:defRPr>
                      </a:lvl7pPr>
                      <a:lvl8pPr marL="426613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Trebuchet MS"/>
                        </a:defRPr>
                      </a:lvl8pPr>
                      <a:lvl9pPr marL="4875581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Trebuchet MS"/>
                        </a:defRPr>
                      </a:lvl9pPr>
                    </a:lstStyle>
                    <a:p>
                      <a:pPr marL="0" indent="0" algn="l" defTabSz="609365" rtl="0" eaLnBrk="1" latinLnBrk="0" hangingPunct="1">
                        <a:buFont typeface="+mj-lt"/>
                        <a:buNone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njamin Littlemore</a:t>
                      </a:r>
                    </a:p>
                  </a:txBody>
                  <a:tcPr marL="68598" marR="68598" marT="34299" marB="34299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Trebuchet MS"/>
                        </a:defRPr>
                      </a:lvl1pPr>
                      <a:lvl2pPr marL="60944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Trebuchet MS"/>
                        </a:defRPr>
                      </a:lvl2pPr>
                      <a:lvl3pPr marL="1218895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Trebuchet MS"/>
                        </a:defRPr>
                      </a:lvl3pPr>
                      <a:lvl4pPr marL="182834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Trebuchet MS"/>
                        </a:defRPr>
                      </a:lvl4pPr>
                      <a:lvl5pPr marL="243779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Trebuchet MS"/>
                        </a:defRPr>
                      </a:lvl5pPr>
                      <a:lvl6pPr marL="304723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Trebuchet MS"/>
                        </a:defRPr>
                      </a:lvl6pPr>
                      <a:lvl7pPr marL="3656686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Trebuchet MS"/>
                        </a:defRPr>
                      </a:lvl7pPr>
                      <a:lvl8pPr marL="426613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Trebuchet MS"/>
                        </a:defRPr>
                      </a:lvl8pPr>
                      <a:lvl9pPr marL="4875581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Trebuchet MS"/>
                        </a:defRPr>
                      </a:lvl9pPr>
                    </a:lstStyle>
                    <a:p>
                      <a:pPr marL="0" algn="l" defTabSz="609365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littlemore@coursera.org (Project Manager and Technical Contact)</a:t>
                      </a:r>
                    </a:p>
                  </a:txBody>
                  <a:tcPr marL="68598" marR="68598" marT="34299" marB="34299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31774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85446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469545-F30B-4B54-A208-FA3CA81969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9"/>
            <a:ext cx="7886700" cy="577081"/>
          </a:xfrm>
        </p:spPr>
        <p:txBody>
          <a:bodyPr/>
          <a:lstStyle/>
          <a:p>
            <a:r>
              <a:rPr lang="en-US" dirty="0"/>
              <a:t>Project Objectives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5B093B0-249F-454D-B1D8-C97F6031E6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1221513"/>
              </p:ext>
            </p:extLst>
          </p:nvPr>
        </p:nvGraphicFramePr>
        <p:xfrm>
          <a:off x="212648" y="691115"/>
          <a:ext cx="8517831" cy="3442508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4101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787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511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77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1475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S.No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D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Description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D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Owner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D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Priority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004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</a:pPr>
                      <a:r>
                        <a:rPr lang="en-US" sz="1100" b="0" dirty="0">
                          <a:solidFill>
                            <a:srgbClr val="002E51"/>
                          </a:solidFill>
                          <a:latin typeface="Calibiri"/>
                          <a:cs typeface="Calibri" pitchFamily="34" charset="0"/>
                        </a:rPr>
                        <a:t>1</a:t>
                      </a:r>
                      <a:endParaRPr lang="en-US" sz="1100" b="0" dirty="0">
                        <a:solidFill>
                          <a:srgbClr val="002E51"/>
                        </a:solidFill>
                        <a:latin typeface="Calibiri"/>
                        <a:ea typeface="Times New Roman"/>
                        <a:cs typeface="Calibri" pitchFamily="34" charset="0"/>
                      </a:endParaRP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N" sz="1100" dirty="0">
                          <a:latin typeface="Calibiri"/>
                        </a:rPr>
                        <a:t>Get the response from the Content API, from Coursera, and send/map/post to SSF LMS system.</a:t>
                      </a: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Calibiri"/>
                          <a:ea typeface="+mn-ea"/>
                          <a:cs typeface="+mn-cs"/>
                        </a:rPr>
                        <a:t>YASH</a:t>
                      </a: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Calibiri"/>
                          <a:ea typeface="+mn-ea"/>
                          <a:cs typeface="+mn-cs"/>
                        </a:rPr>
                        <a:t>H</a:t>
                      </a: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00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</a:pPr>
                      <a:r>
                        <a:rPr lang="en-US" sz="1100" b="0" dirty="0">
                          <a:solidFill>
                            <a:srgbClr val="002E51"/>
                          </a:solidFill>
                          <a:latin typeface="Calibiri"/>
                          <a:cs typeface="Calibri" pitchFamily="34" charset="0"/>
                        </a:rPr>
                        <a:t>2</a:t>
                      </a:r>
                      <a:endParaRPr lang="en-US" sz="1100" b="0" dirty="0">
                        <a:solidFill>
                          <a:srgbClr val="002E51"/>
                        </a:solidFill>
                        <a:latin typeface="Calibiri"/>
                        <a:ea typeface="Times New Roman"/>
                        <a:cs typeface="Calibri" pitchFamily="34" charset="0"/>
                      </a:endParaRP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N" sz="1100" dirty="0">
                          <a:latin typeface="Calibiri"/>
                        </a:rPr>
                        <a:t>Get the response from the program API, from Coursera, and send/map/post to SSF LMS system.</a:t>
                      </a:r>
                      <a:endParaRPr lang="en-IN" sz="1100" b="0" dirty="0">
                        <a:solidFill>
                          <a:schemeClr val="tx1"/>
                        </a:solidFill>
                        <a:latin typeface="Calibiri"/>
                      </a:endParaRP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Calibiri"/>
                          <a:ea typeface="+mn-ea"/>
                          <a:cs typeface="+mn-cs"/>
                        </a:rPr>
                        <a:t>YASH</a:t>
                      </a: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Calibiri"/>
                          <a:ea typeface="+mn-ea"/>
                          <a:cs typeface="+mn-cs"/>
                        </a:rPr>
                        <a:t>H</a:t>
                      </a: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800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</a:pPr>
                      <a:r>
                        <a:rPr lang="en-US" sz="1100" b="0" dirty="0">
                          <a:solidFill>
                            <a:srgbClr val="002E51"/>
                          </a:solidFill>
                          <a:latin typeface="Calibiri"/>
                          <a:cs typeface="Calibri" pitchFamily="34" charset="0"/>
                        </a:rPr>
                        <a:t>3</a:t>
                      </a:r>
                      <a:endParaRPr lang="en-US" sz="1100" b="0" dirty="0">
                        <a:solidFill>
                          <a:srgbClr val="002E51"/>
                        </a:solidFill>
                        <a:latin typeface="Calibiri"/>
                        <a:ea typeface="Times New Roman"/>
                        <a:cs typeface="Calibri" pitchFamily="34" charset="0"/>
                      </a:endParaRP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N" sz="1100" dirty="0">
                          <a:latin typeface="Calibiri"/>
                        </a:rPr>
                        <a:t>Get the response from the Completion/Status  API , from Coursera, and send/map/post to SFF LMS system.</a:t>
                      </a: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448" rtl="0" eaLnBrk="1" fontAlgn="auto" latinLnBrk="0" hangingPunct="1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Calibiri"/>
                          <a:ea typeface="+mn-ea"/>
                          <a:cs typeface="+mn-cs"/>
                        </a:rPr>
                        <a:t>YASH</a:t>
                      </a: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Calibiri"/>
                          <a:ea typeface="+mn-ea"/>
                          <a:cs typeface="+mn-cs"/>
                        </a:rPr>
                        <a:t>H</a:t>
                      </a: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57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</a:pPr>
                      <a:r>
                        <a:rPr lang="en-US" sz="1100" b="0" dirty="0">
                          <a:solidFill>
                            <a:srgbClr val="002E51"/>
                          </a:solidFill>
                          <a:latin typeface="Calibiri"/>
                          <a:cs typeface="Calibri" pitchFamily="34" charset="0"/>
                        </a:rPr>
                        <a:t>4</a:t>
                      </a:r>
                      <a:endParaRPr lang="en-US" sz="1100" b="0" dirty="0">
                        <a:solidFill>
                          <a:srgbClr val="002E51"/>
                        </a:solidFill>
                        <a:latin typeface="Calibiri"/>
                        <a:ea typeface="Times New Roman"/>
                        <a:cs typeface="Calibri" pitchFamily="34" charset="0"/>
                      </a:endParaRP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N" sz="1100" dirty="0">
                          <a:latin typeface="Calibiri"/>
                        </a:rPr>
                        <a:t>Post user invitation to Coursera using the invite API, using </a:t>
                      </a:r>
                      <a:r>
                        <a:rPr lang="en-IN" sz="1100" kern="1200" dirty="0">
                          <a:solidFill>
                            <a:schemeClr val="tx1"/>
                          </a:solidFill>
                          <a:latin typeface="Calibiri"/>
                          <a:ea typeface="+mn-ea"/>
                          <a:cs typeface="+mn-cs"/>
                        </a:rPr>
                        <a:t>the SSF LMS/App specific identifier.  </a:t>
                      </a: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609448" rtl="0" eaLnBrk="1" fontAlgn="auto" latinLnBrk="0" hangingPunct="1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Calibiri"/>
                          <a:ea typeface="+mn-ea"/>
                          <a:cs typeface="+mn-cs"/>
                        </a:rPr>
                        <a:t>YASH</a:t>
                      </a: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Calibiri"/>
                          <a:ea typeface="+mn-ea"/>
                          <a:cs typeface="+mn-cs"/>
                        </a:rPr>
                        <a:t>M</a:t>
                      </a: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800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</a:pPr>
                      <a:r>
                        <a:rPr lang="en-US" sz="1100" b="0" dirty="0">
                          <a:solidFill>
                            <a:srgbClr val="002E51"/>
                          </a:solidFill>
                          <a:latin typeface="Calibiri"/>
                          <a:ea typeface="Times New Roman"/>
                          <a:cs typeface="Calibri" pitchFamily="34" charset="0"/>
                        </a:rPr>
                        <a:t>5</a:t>
                      </a: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IN" sz="1100" dirty="0">
                          <a:latin typeface="Calibiri"/>
                        </a:rPr>
                        <a:t>Get/Read user Information(e.g. CSV file ) from SSF LMS system and send/post to Coursera Server.</a:t>
                      </a: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609448" rtl="0" eaLnBrk="1" fontAlgn="auto" latinLnBrk="0" hangingPunct="1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Calibiri"/>
                          <a:ea typeface="+mn-ea"/>
                          <a:cs typeface="+mn-cs"/>
                        </a:rPr>
                        <a:t>YASH</a:t>
                      </a: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Calibiri"/>
                          <a:ea typeface="+mn-ea"/>
                          <a:cs typeface="+mn-cs"/>
                        </a:rPr>
                        <a:t>M</a:t>
                      </a: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70825"/>
                  </a:ext>
                </a:extLst>
              </a:tr>
              <a:tr h="51800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</a:pPr>
                      <a:r>
                        <a:rPr lang="en-US" sz="1100" b="0" dirty="0">
                          <a:solidFill>
                            <a:srgbClr val="002E51"/>
                          </a:solidFill>
                          <a:latin typeface="Calibiri"/>
                          <a:ea typeface="Times New Roman"/>
                          <a:cs typeface="Calibri" pitchFamily="34" charset="0"/>
                        </a:rPr>
                        <a:t>6</a:t>
                      </a: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IN" sz="1100" dirty="0">
                          <a:latin typeface="Calibiri"/>
                        </a:rPr>
                        <a:t>Application Deployment  and Deere integration Setup</a:t>
                      </a: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609448" rtl="0" eaLnBrk="1" fontAlgn="auto" latinLnBrk="0" hangingPunct="1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Calibiri"/>
                          <a:ea typeface="+mn-ea"/>
                          <a:cs typeface="+mn-cs"/>
                        </a:rPr>
                        <a:t>YASH/COURSERA</a:t>
                      </a: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Calibiri"/>
                          <a:ea typeface="+mn-ea"/>
                          <a:cs typeface="+mn-cs"/>
                        </a:rPr>
                        <a:t>H</a:t>
                      </a:r>
                    </a:p>
                  </a:txBody>
                  <a:tcPr marL="56386" marR="56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12748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84161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E2A63C8-4DFF-4DFB-9817-5B60308794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9"/>
            <a:ext cx="7886700" cy="288541"/>
          </a:xfrm>
        </p:spPr>
        <p:txBody>
          <a:bodyPr/>
          <a:lstStyle/>
          <a:p>
            <a:r>
              <a:rPr lang="en-US" dirty="0"/>
              <a:t>Project Schedu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4BD0749-90A3-450C-BE31-8FBF85F9DF67}"/>
              </a:ext>
            </a:extLst>
          </p:cNvPr>
          <p:cNvSpPr txBox="1"/>
          <p:nvPr/>
        </p:nvSpPr>
        <p:spPr>
          <a:xfrm>
            <a:off x="333508" y="3655135"/>
            <a:ext cx="54703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6EC0"/>
                </a:solidFill>
                <a:latin typeface="Calibiri"/>
              </a:rPr>
              <a:t>Go Live Date:  </a:t>
            </a:r>
          </a:p>
          <a:p>
            <a:r>
              <a:rPr lang="en-US" sz="1200" dirty="0">
                <a:latin typeface="Calibiri"/>
              </a:rPr>
              <a:t>Friday, August 9th 2019</a:t>
            </a:r>
          </a:p>
          <a:p>
            <a:endParaRPr lang="en-US" sz="1200" dirty="0">
              <a:latin typeface="Calibiri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C775E62-E649-42C7-A4A4-D1A06DC7FD05}"/>
              </a:ext>
            </a:extLst>
          </p:cNvPr>
          <p:cNvSpPr/>
          <p:nvPr/>
        </p:nvSpPr>
        <p:spPr>
          <a:xfrm>
            <a:off x="5512936" y="3655135"/>
            <a:ext cx="329755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latin typeface="Calibiri"/>
              </a:rPr>
              <a:t>India Holidays: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1200" dirty="0">
                <a:latin typeface="Calibiri"/>
              </a:rPr>
              <a:t>May 1, 2019 Labor day</a:t>
            </a:r>
          </a:p>
        </p:txBody>
      </p:sp>
      <p:sp>
        <p:nvSpPr>
          <p:cNvPr id="7" name="Star: 5 Points 4">
            <a:extLst>
              <a:ext uri="{FF2B5EF4-FFF2-40B4-BE49-F238E27FC236}">
                <a16:creationId xmlns:a16="http://schemas.microsoft.com/office/drawing/2014/main" id="{AD6D542F-74A1-4B37-AF10-D9FD45245893}"/>
              </a:ext>
            </a:extLst>
          </p:cNvPr>
          <p:cNvSpPr/>
          <p:nvPr/>
        </p:nvSpPr>
        <p:spPr>
          <a:xfrm>
            <a:off x="10458749" y="4999215"/>
            <a:ext cx="227341" cy="178439"/>
          </a:xfrm>
          <a:prstGeom prst="star5">
            <a:avLst/>
          </a:prstGeom>
          <a:solidFill>
            <a:srgbClr val="A9D08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8" name="Star: 5 Points 4">
            <a:extLst>
              <a:ext uri="{FF2B5EF4-FFF2-40B4-BE49-F238E27FC236}">
                <a16:creationId xmlns:a16="http://schemas.microsoft.com/office/drawing/2014/main" id="{521CCBEF-742A-43B4-94C8-BB3D017AF551}"/>
              </a:ext>
            </a:extLst>
          </p:cNvPr>
          <p:cNvSpPr/>
          <p:nvPr/>
        </p:nvSpPr>
        <p:spPr>
          <a:xfrm>
            <a:off x="7914422" y="2571750"/>
            <a:ext cx="170626" cy="170626"/>
          </a:xfrm>
          <a:prstGeom prst="star5">
            <a:avLst>
              <a:gd name="adj" fmla="val 22856"/>
              <a:gd name="hf" fmla="val 105146"/>
              <a:gd name="vf" fmla="val 110557"/>
            </a:avLst>
          </a:prstGeom>
          <a:solidFill>
            <a:srgbClr val="A9D08E"/>
          </a:solidFill>
          <a:ln>
            <a:solidFill>
              <a:srgbClr val="FC3E5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B6BA06E-E917-41E7-98D3-1BC8EBD0DF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203" y="652556"/>
            <a:ext cx="8603289" cy="2735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8614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78A1DFF-0820-4777-9AEA-02676F9630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232" y="143289"/>
            <a:ext cx="7886700" cy="305090"/>
          </a:xfrm>
        </p:spPr>
        <p:txBody>
          <a:bodyPr/>
          <a:lstStyle/>
          <a:p>
            <a:r>
              <a:rPr lang="en-US" dirty="0"/>
              <a:t>Risks and Assumptions</a:t>
            </a:r>
            <a:br>
              <a:rPr lang="en-US" dirty="0"/>
            </a:b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7A26237-0741-45FD-9290-45ED3A33B2BA}"/>
              </a:ext>
            </a:extLst>
          </p:cNvPr>
          <p:cNvSpPr/>
          <p:nvPr/>
        </p:nvSpPr>
        <p:spPr>
          <a:xfrm>
            <a:off x="90055" y="3590628"/>
            <a:ext cx="8909561" cy="1552871"/>
          </a:xfrm>
          <a:prstGeom prst="rect">
            <a:avLst/>
          </a:prstGeom>
          <a:solidFill>
            <a:schemeClr val="bg1">
              <a:alpha val="2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lnSpc>
                <a:spcPct val="150000"/>
              </a:lnSpc>
              <a:buAutoNum type="arabicParenR"/>
            </a:pPr>
            <a:r>
              <a:rPr lang="en-US" sz="1100" dirty="0">
                <a:solidFill>
                  <a:srgbClr val="002E51"/>
                </a:solidFill>
                <a:latin typeface="Calibri" panose="020F0502020204030204" pitchFamily="34" charset="0"/>
              </a:rPr>
              <a:t>Coursera and SSF LMS will provide access to the AWS Repo and all API Access.</a:t>
            </a:r>
          </a:p>
          <a:p>
            <a:pPr marL="342900" indent="-342900">
              <a:lnSpc>
                <a:spcPct val="150000"/>
              </a:lnSpc>
              <a:buAutoNum type="arabicParenR"/>
            </a:pPr>
            <a:r>
              <a:rPr lang="en-US" sz="1100" dirty="0">
                <a:solidFill>
                  <a:srgbClr val="002E51"/>
                </a:solidFill>
                <a:latin typeface="Calibri" panose="020F0502020204030204" pitchFamily="34" charset="0"/>
              </a:rPr>
              <a:t>SSF LMS User information will be available on SFTP server in specific file Format and location.</a:t>
            </a:r>
          </a:p>
          <a:p>
            <a:pPr marL="342900" indent="-342900">
              <a:lnSpc>
                <a:spcPct val="150000"/>
              </a:lnSpc>
              <a:buAutoNum type="arabicParenR"/>
            </a:pPr>
            <a:r>
              <a:rPr lang="en-US" sz="1100" dirty="0">
                <a:solidFill>
                  <a:srgbClr val="002E51"/>
                </a:solidFill>
                <a:latin typeface="Calibri" panose="020F0502020204030204" pitchFamily="34" charset="0"/>
              </a:rPr>
              <a:t>Coursera will provide the location access where user information will be placed, which is coming form the SSF LMS system.</a:t>
            </a:r>
          </a:p>
        </p:txBody>
      </p:sp>
      <p:graphicFrame>
        <p:nvGraphicFramePr>
          <p:cNvPr id="10" name="Table Placeholder 5">
            <a:extLst>
              <a:ext uri="{FF2B5EF4-FFF2-40B4-BE49-F238E27FC236}">
                <a16:creationId xmlns:a16="http://schemas.microsoft.com/office/drawing/2014/main" id="{A6731354-53E6-4936-9C50-5630F8D0813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32649496"/>
              </p:ext>
            </p:extLst>
          </p:nvPr>
        </p:nvGraphicFramePr>
        <p:xfrm>
          <a:off x="156332" y="739344"/>
          <a:ext cx="8843284" cy="2560320"/>
        </p:xfrm>
        <a:graphic>
          <a:graphicData uri="http://schemas.openxmlformats.org/drawingml/2006/table">
            <a:tbl>
              <a:tblPr firstRow="1" bandRow="1"/>
              <a:tblGrid>
                <a:gridCol w="5061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311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153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906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05815"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1pPr>
                      <a:lvl2pPr marL="609448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2pPr>
                      <a:lvl3pPr marL="1218895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3pPr>
                      <a:lvl4pPr marL="1828343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4pPr>
                      <a:lvl5pPr marL="2437790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5pPr>
                      <a:lvl6pPr marL="3047238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6pPr>
                      <a:lvl7pPr marL="3656686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7pPr>
                      <a:lvl8pPr marL="4266133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8pPr>
                      <a:lvl9pPr marL="4875581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r>
                        <a:rPr lang="en-US" sz="105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</a:rPr>
                        <a:t>Risk Level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0"/>
                    </a:solidFill>
                  </a:tcPr>
                </a:tc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1pPr>
                      <a:lvl2pPr marL="609448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2pPr>
                      <a:lvl3pPr marL="1218895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3pPr>
                      <a:lvl4pPr marL="1828343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4pPr>
                      <a:lvl5pPr marL="2437790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5pPr>
                      <a:lvl6pPr marL="3047238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6pPr>
                      <a:lvl7pPr marL="3656686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7pPr>
                      <a:lvl8pPr marL="4266133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8pPr>
                      <a:lvl9pPr marL="4875581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r>
                        <a:rPr lang="en-US" sz="105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</a:rPr>
                        <a:t>Risk Description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0"/>
                    </a:solidFill>
                  </a:tcPr>
                </a:tc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1pPr>
                      <a:lvl2pPr marL="609448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2pPr>
                      <a:lvl3pPr marL="1218895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3pPr>
                      <a:lvl4pPr marL="1828343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4pPr>
                      <a:lvl5pPr marL="2437790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5pPr>
                      <a:lvl6pPr marL="3047238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6pPr>
                      <a:lvl7pPr marL="3656686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7pPr>
                      <a:lvl8pPr marL="4266133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8pPr>
                      <a:lvl9pPr marL="4875581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r>
                        <a:rPr lang="en-US" sz="105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</a:rPr>
                        <a:t>Mitigation</a:t>
                      </a:r>
                      <a:r>
                        <a:rPr lang="en-US" sz="1050" baseline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</a:rPr>
                        <a:t> Strategy</a:t>
                      </a:r>
                      <a:endParaRPr lang="en-US" sz="1050" dirty="0">
                        <a:solidFill>
                          <a:schemeClr val="bg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0"/>
                    </a:solidFill>
                  </a:tcPr>
                </a:tc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1pPr>
                      <a:lvl2pPr marL="609448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2pPr>
                      <a:lvl3pPr marL="1218895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3pPr>
                      <a:lvl4pPr marL="1828343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4pPr>
                      <a:lvl5pPr marL="2437790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5pPr>
                      <a:lvl6pPr marL="3047238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6pPr>
                      <a:lvl7pPr marL="3656686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7pPr>
                      <a:lvl8pPr marL="4266133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8pPr>
                      <a:lvl9pPr marL="4875581" algn="l" defTabSz="609448" rtl="0" eaLnBrk="1" latinLnBrk="0" hangingPunct="1">
                        <a:defRPr sz="2399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r>
                        <a:rPr lang="en-US" sz="105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</a:rPr>
                        <a:t>Owner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9891"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60944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1218895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82834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243779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304723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3656686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426613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4875581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35000"/>
                        </a:spcAft>
                        <a:buClr>
                          <a:srgbClr val="008CCC"/>
                        </a:buClr>
                        <a:buSzPct val="120000"/>
                        <a:buFont typeface="Times" pitchFamily="18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2E51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60944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1218895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82834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243779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304723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3656686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426613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4875581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35000"/>
                        </a:spcAft>
                        <a:buClr>
                          <a:srgbClr val="008CCC"/>
                        </a:buClr>
                        <a:buSzPct val="120000"/>
                        <a:buFont typeface="Times" pitchFamily="18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2E51"/>
                          </a:solidFill>
                          <a:effectLst/>
                          <a:latin typeface="Calibri" panose="020F0502020204030204" pitchFamily="34" charset="0"/>
                        </a:rPr>
                        <a:t>Additional features identified during the project execution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60944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1218895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82834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243779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304723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3656686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426613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4875581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r>
                        <a:rPr lang="en-US" sz="1050" dirty="0">
                          <a:solidFill>
                            <a:srgbClr val="002E51"/>
                          </a:solidFill>
                          <a:latin typeface="Calibri" panose="020F0502020204030204" pitchFamily="34" charset="0"/>
                        </a:rPr>
                        <a:t>Revised Timeline and</a:t>
                      </a:r>
                      <a:r>
                        <a:rPr lang="en-US" sz="1050" baseline="0" dirty="0">
                          <a:solidFill>
                            <a:srgbClr val="002E51"/>
                          </a:solidFill>
                          <a:latin typeface="Calibri" panose="020F0502020204030204" pitchFamily="34" charset="0"/>
                        </a:rPr>
                        <a:t> estimates.</a:t>
                      </a:r>
                      <a:endParaRPr lang="en-US" sz="1050" dirty="0">
                        <a:solidFill>
                          <a:srgbClr val="002E5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60944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1218895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82834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243779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304723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3656686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426613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4875581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algn="l" defTabSz="609365" rtl="0" eaLnBrk="1" latinLnBrk="0" hangingPunct="1"/>
                      <a:r>
                        <a:rPr lang="en-US" sz="105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ＭＳ Ｐゴシック"/>
                          <a:cs typeface="Calibri" panose="020F0502020204030204" pitchFamily="34" charset="0"/>
                        </a:rPr>
                        <a:t>YASH/Coursera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5815"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60944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1218895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82834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243779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304723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3656686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426613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4875581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35000"/>
                        </a:spcAft>
                        <a:buClr>
                          <a:srgbClr val="008CCC"/>
                        </a:buClr>
                        <a:buSzPct val="120000"/>
                        <a:buFont typeface="Times" pitchFamily="18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2E51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60944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1218895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82834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243779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304723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3656686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426613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4875581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35000"/>
                        </a:spcAft>
                        <a:buClr>
                          <a:srgbClr val="008CCC"/>
                        </a:buClr>
                        <a:buSzPct val="120000"/>
                        <a:buFont typeface="Times" pitchFamily="18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2E51"/>
                          </a:solidFill>
                          <a:effectLst/>
                          <a:latin typeface="Calibri" panose="020F0502020204030204" pitchFamily="34" charset="0"/>
                        </a:rPr>
                        <a:t>Integration requirement other than Coursera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60944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1218895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82834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243779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304723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3656686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426613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4875581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r>
                        <a:rPr lang="en-US" sz="1050" dirty="0">
                          <a:solidFill>
                            <a:srgbClr val="002E51"/>
                          </a:solidFill>
                          <a:latin typeface="Calibri" panose="020F0502020204030204" pitchFamily="34" charset="0"/>
                        </a:rPr>
                        <a:t>Evaluate</a:t>
                      </a:r>
                      <a:r>
                        <a:rPr lang="en-US" sz="1050" baseline="0" dirty="0">
                          <a:solidFill>
                            <a:srgbClr val="002E51"/>
                          </a:solidFill>
                          <a:latin typeface="Calibri" panose="020F0502020204030204" pitchFamily="34" charset="0"/>
                        </a:rPr>
                        <a:t> impact to project timeline and adjust scope if required.</a:t>
                      </a:r>
                      <a:endParaRPr lang="en-US" sz="1050" dirty="0">
                        <a:solidFill>
                          <a:srgbClr val="002E5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60944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1218895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82834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243779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304723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3656686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426613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4875581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lvl="0" indent="0" algn="l" defTabSz="6094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ＭＳ Ｐゴシック"/>
                          <a:cs typeface="Calibri" panose="020F0502020204030204" pitchFamily="34" charset="0"/>
                        </a:rPr>
                        <a:t>YASH/Coursera</a:t>
                      </a:r>
                    </a:p>
                    <a:p>
                      <a:endParaRPr lang="en-US" sz="1050" dirty="0">
                        <a:solidFill>
                          <a:srgbClr val="002E5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5815"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60944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1218895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82834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243779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304723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3656686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426613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4875581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35000"/>
                        </a:spcAft>
                        <a:buClr>
                          <a:srgbClr val="008CCC"/>
                        </a:buClr>
                        <a:buSzPct val="120000"/>
                        <a:buFont typeface="Times" pitchFamily="18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2E51"/>
                          </a:solidFill>
                          <a:effectLst/>
                          <a:latin typeface="Calibri" panose="020F0502020204030204" pitchFamily="34" charset="0"/>
                        </a:rPr>
                        <a:t>L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60944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1218895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82834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243779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304723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3656686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426613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4875581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35000"/>
                        </a:spcAft>
                        <a:buClr>
                          <a:srgbClr val="008CCC"/>
                        </a:buClr>
                        <a:buSzPct val="120000"/>
                        <a:buFont typeface="Times" pitchFamily="18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2E51"/>
                          </a:solidFill>
                          <a:effectLst/>
                          <a:latin typeface="Calibri" panose="020F0502020204030204" pitchFamily="34" charset="0"/>
                        </a:rPr>
                        <a:t>IT Resource availability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60944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1218895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82834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243779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304723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3656686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426613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4875581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r>
                        <a:rPr lang="en-US" sz="1050" dirty="0">
                          <a:solidFill>
                            <a:srgbClr val="002E51"/>
                          </a:solidFill>
                          <a:latin typeface="Calibri" panose="020F0502020204030204" pitchFamily="34" charset="0"/>
                        </a:rPr>
                        <a:t>Monitor availability based on completion of tasks, escalate</a:t>
                      </a:r>
                      <a:r>
                        <a:rPr lang="en-US" sz="1050" baseline="0" dirty="0">
                          <a:solidFill>
                            <a:srgbClr val="002E51"/>
                          </a:solidFill>
                          <a:latin typeface="Calibri" panose="020F0502020204030204" pitchFamily="34" charset="0"/>
                        </a:rPr>
                        <a:t> early if issues arise.</a:t>
                      </a:r>
                      <a:endParaRPr lang="en-US" sz="1050" dirty="0">
                        <a:solidFill>
                          <a:srgbClr val="002E5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60944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1218895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82834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2437790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3047238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3656686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4266133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4875581" algn="l" defTabSz="609448" rtl="0" eaLnBrk="1" latinLnBrk="0" hangingPunct="1">
                        <a:defRPr sz="2399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r>
                        <a:rPr lang="en-US" sz="1050" dirty="0">
                          <a:solidFill>
                            <a:srgbClr val="002E51"/>
                          </a:solidFill>
                          <a:latin typeface="Calibri" panose="020F0502020204030204" pitchFamily="34" charset="0"/>
                        </a:rPr>
                        <a:t>YASH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58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35000"/>
                        </a:spcAft>
                        <a:buClr>
                          <a:srgbClr val="008CCC"/>
                        </a:buClr>
                        <a:buSzPct val="120000"/>
                        <a:buFont typeface="Times" pitchFamily="18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2E51"/>
                          </a:solidFill>
                          <a:effectLst/>
                          <a:latin typeface="Calibri" panose="020F0502020204030204" pitchFamily="34" charset="0"/>
                        </a:rPr>
                        <a:t>H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35000"/>
                        </a:spcAft>
                        <a:buClr>
                          <a:srgbClr val="008CCC"/>
                        </a:buClr>
                        <a:buSzPct val="120000"/>
                        <a:buFont typeface="Times" pitchFamily="18" charset="0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rgbClr val="002E51"/>
                          </a:solidFill>
                          <a:latin typeface="Calibri" pitchFamily="34" charset="0"/>
                          <a:cs typeface="Calibri" pitchFamily="34" charset="0"/>
                        </a:rPr>
                        <a:t>Delay in receiving access for SSF LMS and Couresra API env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4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rgbClr val="002E51"/>
                          </a:solidFill>
                          <a:latin typeface="Calibri" pitchFamily="34" charset="0"/>
                          <a:cs typeface="Calibri" pitchFamily="34" charset="0"/>
                        </a:rPr>
                        <a:t>YASH will sen</a:t>
                      </a:r>
                      <a:r>
                        <a:rPr lang="en-US" sz="1050" baseline="0" dirty="0">
                          <a:solidFill>
                            <a:srgbClr val="002E51"/>
                          </a:solidFill>
                          <a:latin typeface="Calibri" pitchFamily="34" charset="0"/>
                          <a:cs typeface="Calibri" pitchFamily="34" charset="0"/>
                        </a:rPr>
                        <a:t>d request for required access needed in advance.</a:t>
                      </a:r>
                      <a:endParaRPr lang="en-US" sz="1050" dirty="0">
                        <a:solidFill>
                          <a:srgbClr val="002E5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rgbClr val="002E51"/>
                          </a:solidFill>
                          <a:latin typeface="Calibri" panose="020F0502020204030204" pitchFamily="34" charset="0"/>
                        </a:rPr>
                        <a:t>YASH/Coursera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6816719"/>
                  </a:ext>
                </a:extLst>
              </a:tr>
              <a:tr h="3058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35000"/>
                        </a:spcAft>
                        <a:buClr>
                          <a:srgbClr val="008CCC"/>
                        </a:buClr>
                        <a:buSzPct val="120000"/>
                        <a:buFont typeface="Times" pitchFamily="18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2E51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35000"/>
                        </a:spcAft>
                        <a:buClr>
                          <a:srgbClr val="008CCC"/>
                        </a:buClr>
                        <a:buSzPct val="120000"/>
                        <a:buFont typeface="Times" pitchFamily="18" charset="0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rgbClr val="002E51"/>
                          </a:solidFill>
                          <a:latin typeface="Calibri" pitchFamily="34" charset="0"/>
                          <a:cs typeface="Calibri" pitchFamily="34" charset="0"/>
                        </a:rPr>
                        <a:t>Timely responses for the clarification/sign-off as and when required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rgbClr val="002E51"/>
                          </a:solidFill>
                          <a:latin typeface="Calibri" panose="020F0502020204030204" pitchFamily="34" charset="0"/>
                        </a:rPr>
                        <a:t>Project schedule may get changed if there are dependencies on tasks/activities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rgbClr val="002E51"/>
                          </a:solidFill>
                          <a:latin typeface="Calibri" panose="020F0502020204030204" pitchFamily="34" charset="0"/>
                        </a:rPr>
                        <a:t>YASH/Coursera</a:t>
                      </a:r>
                    </a:p>
                    <a:p>
                      <a:endParaRPr lang="en-US" sz="1050" dirty="0">
                        <a:solidFill>
                          <a:srgbClr val="002E5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4705135"/>
                  </a:ext>
                </a:extLst>
              </a:tr>
              <a:tr h="17989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35000"/>
                        </a:spcAft>
                        <a:buClr>
                          <a:srgbClr val="008CCC"/>
                        </a:buClr>
                        <a:buSzPct val="120000"/>
                        <a:buFont typeface="Times" pitchFamily="18" charset="0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2E51"/>
                          </a:solidFill>
                          <a:effectLst/>
                          <a:latin typeface="Calibri" panose="020F0502020204030204" pitchFamily="34" charset="0"/>
                        </a:rPr>
                        <a:t>L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35000"/>
                        </a:spcAft>
                        <a:buClr>
                          <a:srgbClr val="008CCC"/>
                        </a:buClr>
                        <a:buSzPct val="120000"/>
                        <a:buFont typeface="Times" pitchFamily="18" charset="0"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rgbClr val="002E51"/>
                          </a:solidFill>
                          <a:latin typeface="Calibri" pitchFamily="34" charset="0"/>
                          <a:cs typeface="Calibri" pitchFamily="34" charset="0"/>
                        </a:rPr>
                        <a:t>Providing</a:t>
                      </a:r>
                      <a:r>
                        <a:rPr lang="en-US" sz="1050" baseline="0" dirty="0">
                          <a:solidFill>
                            <a:srgbClr val="002E51"/>
                          </a:solidFill>
                          <a:latin typeface="Calibri" pitchFamily="34" charset="0"/>
                          <a:cs typeface="Calibri" pitchFamily="34" charset="0"/>
                        </a:rPr>
                        <a:t> Test data before start of development.</a:t>
                      </a:r>
                      <a:endParaRPr lang="en-US" sz="1050" dirty="0">
                        <a:solidFill>
                          <a:srgbClr val="002E5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rgbClr val="002E51"/>
                          </a:solidFill>
                          <a:latin typeface="Calibri" panose="020F0502020204030204" pitchFamily="34" charset="0"/>
                        </a:rPr>
                        <a:t>Testing schedule may be delayed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rgbClr val="002E51"/>
                          </a:solidFill>
                          <a:latin typeface="Calibri" panose="020F0502020204030204" pitchFamily="34" charset="0"/>
                        </a:rPr>
                        <a:t>Coursera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1341014"/>
                  </a:ext>
                </a:extLst>
              </a:tr>
            </a:tbl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7B40D1AE-6392-408D-BE79-70F1167B7E05}"/>
              </a:ext>
            </a:extLst>
          </p:cNvPr>
          <p:cNvSpPr txBox="1">
            <a:spLocks/>
          </p:cNvSpPr>
          <p:nvPr/>
        </p:nvSpPr>
        <p:spPr>
          <a:xfrm>
            <a:off x="90055" y="458318"/>
            <a:ext cx="2309060" cy="3050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609448" rtl="0" eaLnBrk="1" latinLnBrk="0" hangingPunct="1">
              <a:spcBef>
                <a:spcPct val="0"/>
              </a:spcBef>
              <a:buNone/>
              <a:defRPr lang="en-US" sz="2800" b="1" kern="1200" baseline="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l"/>
            <a:r>
              <a:rPr lang="en-US" sz="1600" dirty="0">
                <a:solidFill>
                  <a:srgbClr val="002E51"/>
                </a:solidFill>
                <a:latin typeface="Calibri" panose="020F0502020204030204" pitchFamily="34" charset="0"/>
              </a:rPr>
              <a:t>Risks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BBB7A2D-F047-4851-A337-3F894D78F16C}"/>
              </a:ext>
            </a:extLst>
          </p:cNvPr>
          <p:cNvSpPr txBox="1">
            <a:spLocks/>
          </p:cNvSpPr>
          <p:nvPr/>
        </p:nvSpPr>
        <p:spPr>
          <a:xfrm>
            <a:off x="72474" y="3368241"/>
            <a:ext cx="4797238" cy="38150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609448" rtl="0" eaLnBrk="1" latinLnBrk="0" hangingPunct="1">
              <a:spcBef>
                <a:spcPct val="0"/>
              </a:spcBef>
              <a:buNone/>
              <a:defRPr lang="en-US" sz="2800" b="1" kern="1200" baseline="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l"/>
            <a:r>
              <a:rPr lang="en-US" sz="1600" dirty="0">
                <a:solidFill>
                  <a:srgbClr val="002E51"/>
                </a:solidFill>
                <a:latin typeface="Calibri" panose="020F0502020204030204" pitchFamily="34" charset="0"/>
              </a:rPr>
              <a:t>Assumptions:</a:t>
            </a:r>
            <a:endParaRPr lang="en-US" sz="1100" b="0" dirty="0">
              <a:solidFill>
                <a:srgbClr val="002E51"/>
              </a:solidFill>
              <a:latin typeface="Calibri" panose="020F0502020204030204" pitchFamily="34" charset="0"/>
            </a:endParaRPr>
          </a:p>
          <a:p>
            <a:pPr algn="l"/>
            <a:endParaRPr lang="en-US" sz="1100" b="0" dirty="0">
              <a:solidFill>
                <a:srgbClr val="002E5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7715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78A1DFF-0820-4777-9AEA-02676F9630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232" y="143289"/>
            <a:ext cx="7886700" cy="577081"/>
          </a:xfrm>
        </p:spPr>
        <p:txBody>
          <a:bodyPr/>
          <a:lstStyle/>
          <a:p>
            <a:r>
              <a:rPr lang="en-US" dirty="0"/>
              <a:t>Out Of Scope</a:t>
            </a:r>
            <a:br>
              <a:rPr lang="en-US" dirty="0"/>
            </a:b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7A26237-0741-45FD-9290-45ED3A33B2BA}"/>
              </a:ext>
            </a:extLst>
          </p:cNvPr>
          <p:cNvSpPr/>
          <p:nvPr/>
        </p:nvSpPr>
        <p:spPr>
          <a:xfrm>
            <a:off x="117219" y="563917"/>
            <a:ext cx="8909561" cy="1817775"/>
          </a:xfrm>
          <a:prstGeom prst="rect">
            <a:avLst/>
          </a:prstGeom>
          <a:solidFill>
            <a:schemeClr val="bg1">
              <a:alpha val="2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lnSpc>
                <a:spcPct val="150000"/>
              </a:lnSpc>
              <a:buFontTx/>
              <a:buAutoNum type="arabicParenR"/>
            </a:pPr>
            <a:r>
              <a:rPr lang="en-US" sz="1100" dirty="0">
                <a:solidFill>
                  <a:srgbClr val="002E51"/>
                </a:solidFill>
                <a:latin typeface="Calibri" panose="020F0502020204030204" pitchFamily="34" charset="0"/>
              </a:rPr>
              <a:t>Changes to Standard SSF APIs and access required for middleware.</a:t>
            </a:r>
          </a:p>
          <a:p>
            <a:pPr marL="342900" indent="-342900">
              <a:lnSpc>
                <a:spcPct val="150000"/>
              </a:lnSpc>
              <a:buFontTx/>
              <a:buAutoNum type="arabicParenR"/>
            </a:pPr>
            <a:r>
              <a:rPr lang="en-US" sz="1100" dirty="0">
                <a:solidFill>
                  <a:srgbClr val="002E51"/>
                </a:solidFill>
                <a:latin typeface="Calibri" panose="020F0502020204030204" pitchFamily="34" charset="0"/>
              </a:rPr>
              <a:t>Changes in Coursera Standard APIs and access required for middleware.</a:t>
            </a:r>
          </a:p>
          <a:p>
            <a:pPr marL="342900" indent="-342900">
              <a:lnSpc>
                <a:spcPct val="150000"/>
              </a:lnSpc>
              <a:buFontTx/>
              <a:buAutoNum type="arabicParenR"/>
            </a:pPr>
            <a:r>
              <a:rPr lang="en-US" sz="1100" dirty="0">
                <a:solidFill>
                  <a:srgbClr val="002E51"/>
                </a:solidFill>
                <a:latin typeface="Calibri" panose="020F0502020204030204" pitchFamily="34" charset="0"/>
              </a:rPr>
              <a:t>SSO between SSF and Coursera.</a:t>
            </a:r>
          </a:p>
          <a:p>
            <a:pPr marL="342900" indent="-342900">
              <a:lnSpc>
                <a:spcPct val="150000"/>
              </a:lnSpc>
              <a:buFontTx/>
              <a:buAutoNum type="arabicParenR"/>
            </a:pPr>
            <a:r>
              <a:rPr lang="en-US" sz="1100" dirty="0">
                <a:solidFill>
                  <a:srgbClr val="002E51"/>
                </a:solidFill>
                <a:latin typeface="Calibri" panose="020F0502020204030204" pitchFamily="34" charset="0"/>
              </a:rPr>
              <a:t>AWS account management.</a:t>
            </a:r>
          </a:p>
          <a:p>
            <a:pPr marL="342900" indent="-342900">
              <a:lnSpc>
                <a:spcPct val="150000"/>
              </a:lnSpc>
              <a:buFontTx/>
              <a:buAutoNum type="arabicParenR"/>
            </a:pPr>
            <a:endParaRPr lang="en-US" sz="1100" dirty="0">
              <a:solidFill>
                <a:srgbClr val="002E51"/>
              </a:solidFill>
              <a:latin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en-US" sz="1100" dirty="0">
              <a:solidFill>
                <a:srgbClr val="002E5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02922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F7B44FF-7EB9-4B53-939C-C91A7946F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31" y="85870"/>
            <a:ext cx="7886700" cy="401750"/>
          </a:xfrm>
        </p:spPr>
        <p:txBody>
          <a:bodyPr/>
          <a:lstStyle/>
          <a:p>
            <a:r>
              <a:rPr lang="en-US" dirty="0"/>
              <a:t>Project Control and Monitoring</a:t>
            </a:r>
            <a:br>
              <a:rPr lang="en-US" dirty="0"/>
            </a:br>
            <a:endParaRPr lang="en-US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88AD4BD-C82D-4CA4-9D2C-68C3E6544B7B}"/>
              </a:ext>
            </a:extLst>
          </p:cNvPr>
          <p:cNvSpPr/>
          <p:nvPr/>
        </p:nvSpPr>
        <p:spPr>
          <a:xfrm>
            <a:off x="808117" y="3157814"/>
            <a:ext cx="7595889" cy="1630166"/>
          </a:xfrm>
          <a:prstGeom prst="rect">
            <a:avLst/>
          </a:prstGeom>
          <a:solidFill>
            <a:srgbClr val="002E5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lang="en-US" dirty="0"/>
          </a:p>
        </p:txBody>
      </p:sp>
      <p:sp>
        <p:nvSpPr>
          <p:cNvPr id="37" name="Rectangle 2">
            <a:extLst>
              <a:ext uri="{FF2B5EF4-FFF2-40B4-BE49-F238E27FC236}">
                <a16:creationId xmlns:a16="http://schemas.microsoft.com/office/drawing/2014/main" id="{A1F37163-2EE8-4201-9511-54E607F373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9800" y="3314631"/>
            <a:ext cx="4098976" cy="284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9" tIns="34295" rIns="68589" bIns="34295">
            <a:spAutoFit/>
          </a:bodyPr>
          <a:lstStyle>
            <a:lvl1pPr eaLnBrk="0" hangingPunct="0">
              <a:spcBef>
                <a:spcPct val="20000"/>
              </a:spcBef>
              <a:buClr>
                <a:srgbClr val="FF3300"/>
              </a:buClr>
              <a:buFont typeface="Trebuchet MS" panose="020B0603020202020204" pitchFamily="34" charset="0"/>
              <a:buChar char="●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F3300"/>
              </a:buClr>
              <a:buFont typeface="Trebuchet MS" panose="020B0603020202020204" pitchFamily="34" charset="0"/>
              <a:buChar char="●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F3300"/>
              </a:buClr>
              <a:buFont typeface="Trebuchet MS" panose="020B0603020202020204" pitchFamily="34" charset="0"/>
              <a:buChar char="●"/>
              <a:defRPr sz="1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F3300"/>
              </a:buClr>
              <a:buFont typeface="Trebuchet MS" panose="020B0603020202020204" pitchFamily="34" charset="0"/>
              <a:buChar char="●"/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F3300"/>
              </a:buClr>
              <a:buFont typeface="Trebuchet MS" panose="020B0603020202020204" pitchFamily="34" charset="0"/>
              <a:buChar char="●"/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Trebuchet MS" panose="020B0603020202020204" pitchFamily="34" charset="0"/>
              <a:buChar char="●"/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Trebuchet MS" panose="020B0603020202020204" pitchFamily="34" charset="0"/>
              <a:buChar char="●"/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Trebuchet MS" panose="020B0603020202020204" pitchFamily="34" charset="0"/>
              <a:buChar char="●"/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Trebuchet MS" panose="020B0603020202020204" pitchFamily="34" charset="0"/>
              <a:buChar char="●"/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400" b="1" dirty="0">
                <a:solidFill>
                  <a:schemeClr val="bg1"/>
                </a:solidFill>
                <a:latin typeface="+mn-lt"/>
              </a:rPr>
              <a:t>Project Escalation Hierarchy</a:t>
            </a:r>
          </a:p>
        </p:txBody>
      </p:sp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AC121CBC-BADC-4543-BA79-99ADC725BC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7280394"/>
              </p:ext>
            </p:extLst>
          </p:nvPr>
        </p:nvGraphicFramePr>
        <p:xfrm>
          <a:off x="863805" y="3551214"/>
          <a:ext cx="7252380" cy="120074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581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849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092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5632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Level</a:t>
                      </a:r>
                    </a:p>
                  </a:txBody>
                  <a:tcPr marL="68598" marR="68598" marT="34286" marB="3428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YASH Contact</a:t>
                      </a:r>
                    </a:p>
                  </a:txBody>
                  <a:tcPr marL="68598" marR="68598" marT="34286" marB="3428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Coursera Contact</a:t>
                      </a:r>
                    </a:p>
                  </a:txBody>
                  <a:tcPr marL="68598" marR="68598" marT="34286" marB="3428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A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5632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FIRST</a:t>
                      </a:r>
                    </a:p>
                  </a:txBody>
                  <a:tcPr marL="68598" marR="68598" marT="34286" marB="3428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Mitul Deshmukh (Mitul.Deshmukh@yash.com)</a:t>
                      </a:r>
                    </a:p>
                  </a:txBody>
                  <a:tcPr marL="68598" marR="68598" marT="34286" marB="3428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98" marR="68598" marT="34286" marB="3428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563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SECOND</a:t>
                      </a:r>
                    </a:p>
                  </a:txBody>
                  <a:tcPr marL="68598" marR="68598" marT="34286" marB="34286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100" dirty="0">
                          <a:solidFill>
                            <a:schemeClr val="bg1"/>
                          </a:solidFill>
                        </a:rPr>
                        <a:t>Nishikant.Purohit &lt;Nishikant.Purohit@yash.com&gt;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98" marR="68598" marT="34286" marB="34286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98" marR="68598" marT="34286" marB="34286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563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THIRD</a:t>
                      </a:r>
                    </a:p>
                  </a:txBody>
                  <a:tcPr marL="68598" marR="68598" marT="34286" marB="34286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dirty="0">
                          <a:solidFill>
                            <a:schemeClr val="bg1"/>
                          </a:solidFill>
                        </a:rPr>
                        <a:t>Hari P Vyakarnam &lt;harip@yash.com&gt;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98" marR="68598" marT="34286" marB="34286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98" marR="68598" marT="34286" marB="34286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83799997"/>
                  </a:ext>
                </a:extLst>
              </a:tr>
            </a:tbl>
          </a:graphicData>
        </a:graphic>
      </p:graphicFrame>
      <p:sp>
        <p:nvSpPr>
          <p:cNvPr id="39" name="Oval 38">
            <a:extLst>
              <a:ext uri="{FF2B5EF4-FFF2-40B4-BE49-F238E27FC236}">
                <a16:creationId xmlns:a16="http://schemas.microsoft.com/office/drawing/2014/main" id="{CD9F7B15-F97B-42FA-8465-490962E1D25E}"/>
              </a:ext>
            </a:extLst>
          </p:cNvPr>
          <p:cNvSpPr/>
          <p:nvPr/>
        </p:nvSpPr>
        <p:spPr>
          <a:xfrm>
            <a:off x="3478978" y="3084343"/>
            <a:ext cx="3297131" cy="171576"/>
          </a:xfrm>
          <a:prstGeom prst="ellipse">
            <a:avLst/>
          </a:prstGeom>
          <a:gradFill flip="none" rotWithShape="1">
            <a:gsLst>
              <a:gs pos="78000">
                <a:sysClr val="window" lastClr="FFFFFF">
                  <a:alpha val="0"/>
                </a:sysClr>
              </a:gs>
              <a:gs pos="12000">
                <a:sysClr val="windowText" lastClr="000000">
                  <a:lumMod val="50000"/>
                  <a:lumOff val="50000"/>
                </a:sysClr>
              </a:gs>
            </a:gsLst>
            <a:path path="shape">
              <a:fillToRect l="50000" t="50000" r="50000" b="50000"/>
            </a:path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68589" tIns="34295" rIns="68589" bIns="34295" rtlCol="0" anchor="ctr"/>
          <a:lstStyle/>
          <a:p>
            <a:pPr algn="ctr" defTabSz="68589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kern="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40" name="Hexagon 39">
            <a:extLst>
              <a:ext uri="{FF2B5EF4-FFF2-40B4-BE49-F238E27FC236}">
                <a16:creationId xmlns:a16="http://schemas.microsoft.com/office/drawing/2014/main" id="{FA3E51DC-00E4-4279-BC89-85A09875AE57}"/>
              </a:ext>
            </a:extLst>
          </p:cNvPr>
          <p:cNvSpPr/>
          <p:nvPr/>
        </p:nvSpPr>
        <p:spPr>
          <a:xfrm rot="16200000">
            <a:off x="5824275" y="1779143"/>
            <a:ext cx="652919" cy="569400"/>
          </a:xfrm>
          <a:prstGeom prst="hexagon">
            <a:avLst/>
          </a:prstGeom>
          <a:gradFill>
            <a:gsLst>
              <a:gs pos="0">
                <a:srgbClr val="87BCC7"/>
              </a:gs>
              <a:gs pos="100000">
                <a:srgbClr val="43828F"/>
              </a:gs>
            </a:gsLst>
            <a:path path="circle">
              <a:fillToRect l="50000" t="50000" r="50000" b="50000"/>
            </a:path>
          </a:gradFill>
          <a:ln w="28575" cap="flat" cmpd="sng" algn="ctr">
            <a:solidFill>
              <a:srgbClr val="FFFFFF"/>
            </a:solidFill>
            <a:prstDash val="solid"/>
            <a:miter lim="800000"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lIns="68589" tIns="34295" rIns="68589" bIns="34295" rtlCol="0" anchor="ctr"/>
          <a:lstStyle/>
          <a:p>
            <a:pPr algn="ctr" defTabSz="68589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kern="0" dirty="0">
              <a:solidFill>
                <a:prstClr val="white"/>
              </a:solidFill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41" name="Hexagon 40">
            <a:extLst>
              <a:ext uri="{FF2B5EF4-FFF2-40B4-BE49-F238E27FC236}">
                <a16:creationId xmlns:a16="http://schemas.microsoft.com/office/drawing/2014/main" id="{2BE922A0-2576-480E-BFEF-FD69BDE3A47D}"/>
              </a:ext>
            </a:extLst>
          </p:cNvPr>
          <p:cNvSpPr/>
          <p:nvPr/>
        </p:nvSpPr>
        <p:spPr>
          <a:xfrm rot="16200000">
            <a:off x="4989699" y="960147"/>
            <a:ext cx="652919" cy="569400"/>
          </a:xfrm>
          <a:prstGeom prst="hexagon">
            <a:avLst/>
          </a:prstGeom>
          <a:gradFill>
            <a:gsLst>
              <a:gs pos="0">
                <a:srgbClr val="A6C2AF"/>
              </a:gs>
              <a:gs pos="100000">
                <a:srgbClr val="5A8267"/>
              </a:gs>
            </a:gsLst>
            <a:path path="circle">
              <a:fillToRect l="50000" t="50000" r="50000" b="50000"/>
            </a:path>
          </a:gradFill>
          <a:ln w="28575" cap="flat" cmpd="sng" algn="ctr">
            <a:solidFill>
              <a:srgbClr val="FFFFFF"/>
            </a:solidFill>
            <a:prstDash val="solid"/>
            <a:miter lim="800000"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lIns="68589" tIns="34295" rIns="68589" bIns="34295" rtlCol="0" anchor="ctr"/>
          <a:lstStyle/>
          <a:p>
            <a:pPr algn="ctr" defTabSz="68589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kern="0" dirty="0">
              <a:solidFill>
                <a:prstClr val="white"/>
              </a:solidFill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129F6EE9-9362-4446-A1BB-E87A143B56AD}"/>
              </a:ext>
            </a:extLst>
          </p:cNvPr>
          <p:cNvGrpSpPr/>
          <p:nvPr/>
        </p:nvGrpSpPr>
        <p:grpSpPr>
          <a:xfrm>
            <a:off x="2407741" y="1821210"/>
            <a:ext cx="569400" cy="652919"/>
            <a:chOff x="1449475" y="3350790"/>
            <a:chExt cx="798589" cy="915964"/>
          </a:xfrm>
        </p:grpSpPr>
        <p:sp>
          <p:nvSpPr>
            <p:cNvPr id="43" name="Hexagon 42">
              <a:extLst>
                <a:ext uri="{FF2B5EF4-FFF2-40B4-BE49-F238E27FC236}">
                  <a16:creationId xmlns:a16="http://schemas.microsoft.com/office/drawing/2014/main" id="{04A73503-7F9C-45FF-869B-2655D5370D6A}"/>
                </a:ext>
              </a:extLst>
            </p:cNvPr>
            <p:cNvSpPr/>
            <p:nvPr/>
          </p:nvSpPr>
          <p:spPr>
            <a:xfrm rot="16200000">
              <a:off x="1390788" y="3409477"/>
              <a:ext cx="915964" cy="798589"/>
            </a:xfrm>
            <a:prstGeom prst="hexagon">
              <a:avLst/>
            </a:prstGeom>
            <a:solidFill>
              <a:srgbClr val="00B0F0"/>
            </a:solidFill>
            <a:ln w="28575" cap="flat" cmpd="sng" algn="ctr">
              <a:solidFill>
                <a:srgbClr val="FFFFFF"/>
              </a:solidFill>
              <a:prstDash val="solid"/>
              <a:miter lim="800000"/>
            </a:ln>
            <a:effectLst>
              <a:outerShdw blurRad="63500" sx="101000" sy="101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68589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00" kern="0" dirty="0">
                <a:solidFill>
                  <a:prstClr val="white"/>
                </a:solidFill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398FC5CA-367C-49E0-ABAC-799EC1FBCF7E}"/>
                </a:ext>
              </a:extLst>
            </p:cNvPr>
            <p:cNvGrpSpPr/>
            <p:nvPr/>
          </p:nvGrpSpPr>
          <p:grpSpPr>
            <a:xfrm>
              <a:off x="1700836" y="3660712"/>
              <a:ext cx="295869" cy="296119"/>
              <a:chOff x="1226789" y="2072307"/>
              <a:chExt cx="4056446" cy="4059872"/>
            </a:xfrm>
            <a:solidFill>
              <a:sysClr val="window" lastClr="FFFFFF"/>
            </a:solidFill>
            <a:effectLst/>
          </p:grpSpPr>
          <p:sp>
            <p:nvSpPr>
              <p:cNvPr id="45" name="Freeform 181">
                <a:extLst>
                  <a:ext uri="{FF2B5EF4-FFF2-40B4-BE49-F238E27FC236}">
                    <a16:creationId xmlns:a16="http://schemas.microsoft.com/office/drawing/2014/main" id="{8BA6B4F3-6C09-4BCB-BE04-F9A01056931D}"/>
                  </a:ext>
                </a:extLst>
              </p:cNvPr>
              <p:cNvSpPr/>
              <p:nvPr/>
            </p:nvSpPr>
            <p:spPr>
              <a:xfrm>
                <a:off x="2089921" y="2969028"/>
                <a:ext cx="2330182" cy="2330182"/>
              </a:xfrm>
              <a:custGeom>
                <a:avLst/>
                <a:gdLst>
                  <a:gd name="connsiteX0" fmla="*/ 1165091 w 2330182"/>
                  <a:gd name="connsiteY0" fmla="*/ 147659 h 2330182"/>
                  <a:gd name="connsiteX1" fmla="*/ 147659 w 2330182"/>
                  <a:gd name="connsiteY1" fmla="*/ 1165091 h 2330182"/>
                  <a:gd name="connsiteX2" fmla="*/ 1165091 w 2330182"/>
                  <a:gd name="connsiteY2" fmla="*/ 2182523 h 2330182"/>
                  <a:gd name="connsiteX3" fmla="*/ 2182523 w 2330182"/>
                  <a:gd name="connsiteY3" fmla="*/ 1165091 h 2330182"/>
                  <a:gd name="connsiteX4" fmla="*/ 1165091 w 2330182"/>
                  <a:gd name="connsiteY4" fmla="*/ 147659 h 2330182"/>
                  <a:gd name="connsiteX5" fmla="*/ 1165091 w 2330182"/>
                  <a:gd name="connsiteY5" fmla="*/ 0 h 2330182"/>
                  <a:gd name="connsiteX6" fmla="*/ 2330182 w 2330182"/>
                  <a:gd name="connsiteY6" fmla="*/ 1165091 h 2330182"/>
                  <a:gd name="connsiteX7" fmla="*/ 1165091 w 2330182"/>
                  <a:gd name="connsiteY7" fmla="*/ 2330182 h 2330182"/>
                  <a:gd name="connsiteX8" fmla="*/ 0 w 2330182"/>
                  <a:gd name="connsiteY8" fmla="*/ 1165091 h 2330182"/>
                  <a:gd name="connsiteX9" fmla="*/ 1165091 w 2330182"/>
                  <a:gd name="connsiteY9" fmla="*/ 0 h 2330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30182" h="2330182">
                    <a:moveTo>
                      <a:pt x="1165091" y="147659"/>
                    </a:moveTo>
                    <a:cubicBezTo>
                      <a:pt x="603179" y="147659"/>
                      <a:pt x="147659" y="603179"/>
                      <a:pt x="147659" y="1165091"/>
                    </a:cubicBezTo>
                    <a:cubicBezTo>
                      <a:pt x="147659" y="1727003"/>
                      <a:pt x="603179" y="2182523"/>
                      <a:pt x="1165091" y="2182523"/>
                    </a:cubicBezTo>
                    <a:cubicBezTo>
                      <a:pt x="1727003" y="2182523"/>
                      <a:pt x="2182523" y="1727003"/>
                      <a:pt x="2182523" y="1165091"/>
                    </a:cubicBezTo>
                    <a:cubicBezTo>
                      <a:pt x="2182523" y="603179"/>
                      <a:pt x="1727003" y="147659"/>
                      <a:pt x="1165091" y="147659"/>
                    </a:cubicBezTo>
                    <a:close/>
                    <a:moveTo>
                      <a:pt x="1165091" y="0"/>
                    </a:moveTo>
                    <a:cubicBezTo>
                      <a:pt x="1808553" y="0"/>
                      <a:pt x="2330182" y="521629"/>
                      <a:pt x="2330182" y="1165091"/>
                    </a:cubicBezTo>
                    <a:cubicBezTo>
                      <a:pt x="2330182" y="1808553"/>
                      <a:pt x="1808553" y="2330182"/>
                      <a:pt x="1165091" y="2330182"/>
                    </a:cubicBezTo>
                    <a:cubicBezTo>
                      <a:pt x="521629" y="2330182"/>
                      <a:pt x="0" y="1808553"/>
                      <a:pt x="0" y="1165091"/>
                    </a:cubicBezTo>
                    <a:cubicBezTo>
                      <a:pt x="0" y="521629"/>
                      <a:pt x="521629" y="0"/>
                      <a:pt x="1165091" y="0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 dirty="0">
                  <a:solidFill>
                    <a:prstClr val="white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6" name="Freeform 182">
                <a:extLst>
                  <a:ext uri="{FF2B5EF4-FFF2-40B4-BE49-F238E27FC236}">
                    <a16:creationId xmlns:a16="http://schemas.microsoft.com/office/drawing/2014/main" id="{3A0033D3-FF50-44A8-93AA-E106726FFBE3}"/>
                  </a:ext>
                </a:extLst>
              </p:cNvPr>
              <p:cNvSpPr/>
              <p:nvPr/>
            </p:nvSpPr>
            <p:spPr>
              <a:xfrm rot="8489226">
                <a:off x="1226789" y="2072307"/>
                <a:ext cx="4056446" cy="4059872"/>
              </a:xfrm>
              <a:custGeom>
                <a:avLst/>
                <a:gdLst>
                  <a:gd name="connsiteX0" fmla="*/ 1216809 w 4056446"/>
                  <a:gd name="connsiteY0" fmla="*/ 3055242 h 4059872"/>
                  <a:gd name="connsiteX1" fmla="*/ 3098885 w 4056446"/>
                  <a:gd name="connsiteY1" fmla="*/ 2841236 h 4059872"/>
                  <a:gd name="connsiteX2" fmla="*/ 2884879 w 4056446"/>
                  <a:gd name="connsiteY2" fmla="*/ 959160 h 4059872"/>
                  <a:gd name="connsiteX3" fmla="*/ 1002803 w 4056446"/>
                  <a:gd name="connsiteY3" fmla="*/ 1173166 h 4059872"/>
                  <a:gd name="connsiteX4" fmla="*/ 1216809 w 4056446"/>
                  <a:gd name="connsiteY4" fmla="*/ 3055242 h 4059872"/>
                  <a:gd name="connsiteX5" fmla="*/ 1007707 w 4056446"/>
                  <a:gd name="connsiteY5" fmla="*/ 3744720 h 4059872"/>
                  <a:gd name="connsiteX6" fmla="*/ 571023 w 4056446"/>
                  <a:gd name="connsiteY6" fmla="*/ 3397206 h 4059872"/>
                  <a:gd name="connsiteX7" fmla="*/ 563135 w 4056446"/>
                  <a:gd name="connsiteY7" fmla="*/ 3327835 h 4059872"/>
                  <a:gd name="connsiteX8" fmla="*/ 866464 w 4056446"/>
                  <a:gd name="connsiteY8" fmla="*/ 2946674 h 4059872"/>
                  <a:gd name="connsiteX9" fmla="*/ 799169 w 4056446"/>
                  <a:gd name="connsiteY9" fmla="*/ 2857589 h 4059872"/>
                  <a:gd name="connsiteX10" fmla="*/ 680648 w 4056446"/>
                  <a:gd name="connsiteY10" fmla="*/ 2649231 h 4059872"/>
                  <a:gd name="connsiteX11" fmla="*/ 616826 w 4056446"/>
                  <a:gd name="connsiteY11" fmla="*/ 2479081 h 4059872"/>
                  <a:gd name="connsiteX12" fmla="*/ 115475 w 4056446"/>
                  <a:gd name="connsiteY12" fmla="*/ 2533963 h 4059872"/>
                  <a:gd name="connsiteX13" fmla="*/ 61027 w 4056446"/>
                  <a:gd name="connsiteY13" fmla="*/ 2490259 h 4059872"/>
                  <a:gd name="connsiteX14" fmla="*/ 297 w 4056446"/>
                  <a:gd name="connsiteY14" fmla="*/ 1935488 h 4059872"/>
                  <a:gd name="connsiteX15" fmla="*/ 44001 w 4056446"/>
                  <a:gd name="connsiteY15" fmla="*/ 1881040 h 4059872"/>
                  <a:gd name="connsiteX16" fmla="*/ 547562 w 4056446"/>
                  <a:gd name="connsiteY16" fmla="*/ 1825916 h 4059872"/>
                  <a:gd name="connsiteX17" fmla="*/ 549211 w 4056446"/>
                  <a:gd name="connsiteY17" fmla="*/ 1826397 h 4059872"/>
                  <a:gd name="connsiteX18" fmla="*/ 564245 w 4056446"/>
                  <a:gd name="connsiteY18" fmla="*/ 1725111 h 4059872"/>
                  <a:gd name="connsiteX19" fmla="*/ 672799 w 4056446"/>
                  <a:gd name="connsiteY19" fmla="*/ 1382137 h 4059872"/>
                  <a:gd name="connsiteX20" fmla="*/ 704433 w 4056446"/>
                  <a:gd name="connsiteY20" fmla="*/ 1322516 h 4059872"/>
                  <a:gd name="connsiteX21" fmla="*/ 314187 w 4056446"/>
                  <a:gd name="connsiteY21" fmla="*/ 1011958 h 4059872"/>
                  <a:gd name="connsiteX22" fmla="*/ 306299 w 4056446"/>
                  <a:gd name="connsiteY22" fmla="*/ 942586 h 4059872"/>
                  <a:gd name="connsiteX23" fmla="*/ 653814 w 4056446"/>
                  <a:gd name="connsiteY23" fmla="*/ 505903 h 4059872"/>
                  <a:gd name="connsiteX24" fmla="*/ 723185 w 4056446"/>
                  <a:gd name="connsiteY24" fmla="*/ 498015 h 4059872"/>
                  <a:gd name="connsiteX25" fmla="*/ 1119559 w 4056446"/>
                  <a:gd name="connsiteY25" fmla="*/ 813450 h 4059872"/>
                  <a:gd name="connsiteX26" fmla="*/ 1120994 w 4056446"/>
                  <a:gd name="connsiteY26" fmla="*/ 815157 h 4059872"/>
                  <a:gd name="connsiteX27" fmla="*/ 1139802 w 4056446"/>
                  <a:gd name="connsiteY27" fmla="*/ 799005 h 4059872"/>
                  <a:gd name="connsiteX28" fmla="*/ 1459003 w 4056446"/>
                  <a:gd name="connsiteY28" fmla="*/ 614640 h 4059872"/>
                  <a:gd name="connsiteX29" fmla="*/ 1559225 w 4056446"/>
                  <a:gd name="connsiteY29" fmla="*/ 577750 h 4059872"/>
                  <a:gd name="connsiteX30" fmla="*/ 1550191 w 4056446"/>
                  <a:gd name="connsiteY30" fmla="*/ 555938 h 4059872"/>
                  <a:gd name="connsiteX31" fmla="*/ 1550191 w 4056446"/>
                  <a:gd name="connsiteY31" fmla="*/ 49369 h 4059872"/>
                  <a:gd name="connsiteX32" fmla="*/ 1599560 w 4056446"/>
                  <a:gd name="connsiteY32" fmla="*/ 0 h 4059872"/>
                  <a:gd name="connsiteX33" fmla="*/ 2157645 w 4056446"/>
                  <a:gd name="connsiteY33" fmla="*/ 0 h 4059872"/>
                  <a:gd name="connsiteX34" fmla="*/ 2207014 w 4056446"/>
                  <a:gd name="connsiteY34" fmla="*/ 49369 h 4059872"/>
                  <a:gd name="connsiteX35" fmla="*/ 2207014 w 4056446"/>
                  <a:gd name="connsiteY35" fmla="*/ 503618 h 4059872"/>
                  <a:gd name="connsiteX36" fmla="*/ 2314929 w 4056446"/>
                  <a:gd name="connsiteY36" fmla="*/ 517315 h 4059872"/>
                  <a:gd name="connsiteX37" fmla="*/ 2667373 w 4056446"/>
                  <a:gd name="connsiteY37" fmla="*/ 625309 h 4059872"/>
                  <a:gd name="connsiteX38" fmla="*/ 2700138 w 4056446"/>
                  <a:gd name="connsiteY38" fmla="*/ 642497 h 4059872"/>
                  <a:gd name="connsiteX39" fmla="*/ 3008044 w 4056446"/>
                  <a:gd name="connsiteY39" fmla="*/ 255585 h 4059872"/>
                  <a:gd name="connsiteX40" fmla="*/ 3077415 w 4056446"/>
                  <a:gd name="connsiteY40" fmla="*/ 247697 h 4059872"/>
                  <a:gd name="connsiteX41" fmla="*/ 3514099 w 4056446"/>
                  <a:gd name="connsiteY41" fmla="*/ 595211 h 4059872"/>
                  <a:gd name="connsiteX42" fmla="*/ 3521987 w 4056446"/>
                  <a:gd name="connsiteY42" fmla="*/ 664583 h 4059872"/>
                  <a:gd name="connsiteX43" fmla="*/ 3218637 w 4056446"/>
                  <a:gd name="connsiteY43" fmla="*/ 1045770 h 4059872"/>
                  <a:gd name="connsiteX44" fmla="*/ 3302519 w 4056446"/>
                  <a:gd name="connsiteY44" fmla="*/ 1156813 h 4059872"/>
                  <a:gd name="connsiteX45" fmla="*/ 3421041 w 4056446"/>
                  <a:gd name="connsiteY45" fmla="*/ 1365171 h 4059872"/>
                  <a:gd name="connsiteX46" fmla="*/ 3454648 w 4056446"/>
                  <a:gd name="connsiteY46" fmla="*/ 1454771 h 4059872"/>
                  <a:gd name="connsiteX47" fmla="*/ 3458789 w 4056446"/>
                  <a:gd name="connsiteY47" fmla="*/ 1452702 h 4059872"/>
                  <a:gd name="connsiteX48" fmla="*/ 3964088 w 4056446"/>
                  <a:gd name="connsiteY48" fmla="*/ 1416853 h 4059872"/>
                  <a:gd name="connsiteX49" fmla="*/ 4016827 w 4056446"/>
                  <a:gd name="connsiteY49" fmla="*/ 1462605 h 4059872"/>
                  <a:gd name="connsiteX50" fmla="*/ 4056321 w 4056446"/>
                  <a:gd name="connsiteY50" fmla="*/ 2019290 h 4059872"/>
                  <a:gd name="connsiteX51" fmla="*/ 4010569 w 4056446"/>
                  <a:gd name="connsiteY51" fmla="*/ 2072030 h 4059872"/>
                  <a:gd name="connsiteX52" fmla="*/ 3559565 w 4056446"/>
                  <a:gd name="connsiteY52" fmla="*/ 2104026 h 4059872"/>
                  <a:gd name="connsiteX53" fmla="*/ 3554874 w 4056446"/>
                  <a:gd name="connsiteY53" fmla="*/ 2171858 h 4059872"/>
                  <a:gd name="connsiteX54" fmla="*/ 3452889 w 4056446"/>
                  <a:gd name="connsiteY54" fmla="*/ 2576492 h 4059872"/>
                  <a:gd name="connsiteX55" fmla="*/ 3419706 w 4056446"/>
                  <a:gd name="connsiteY55" fmla="*/ 2643915 h 4059872"/>
                  <a:gd name="connsiteX56" fmla="*/ 3784308 w 4056446"/>
                  <a:gd name="connsiteY56" fmla="*/ 2934067 h 4059872"/>
                  <a:gd name="connsiteX57" fmla="*/ 3792196 w 4056446"/>
                  <a:gd name="connsiteY57" fmla="*/ 3003438 h 4059872"/>
                  <a:gd name="connsiteX58" fmla="*/ 3444682 w 4056446"/>
                  <a:gd name="connsiteY58" fmla="*/ 3440122 h 4059872"/>
                  <a:gd name="connsiteX59" fmla="*/ 3375310 w 4056446"/>
                  <a:gd name="connsiteY59" fmla="*/ 3448010 h 4059872"/>
                  <a:gd name="connsiteX60" fmla="*/ 3021442 w 4056446"/>
                  <a:gd name="connsiteY60" fmla="*/ 3166400 h 4059872"/>
                  <a:gd name="connsiteX61" fmla="*/ 2969339 w 4056446"/>
                  <a:gd name="connsiteY61" fmla="*/ 3209732 h 4059872"/>
                  <a:gd name="connsiteX62" fmla="*/ 2632143 w 4056446"/>
                  <a:gd name="connsiteY62" fmla="*/ 3404184 h 4059872"/>
                  <a:gd name="connsiteX63" fmla="*/ 2530226 w 4056446"/>
                  <a:gd name="connsiteY63" fmla="*/ 3439066 h 4059872"/>
                  <a:gd name="connsiteX64" fmla="*/ 2602529 w 4056446"/>
                  <a:gd name="connsiteY64" fmla="*/ 3920232 h 4059872"/>
                  <a:gd name="connsiteX65" fmla="*/ 2561044 w 4056446"/>
                  <a:gd name="connsiteY65" fmla="*/ 3976388 h 4059872"/>
                  <a:gd name="connsiteX66" fmla="*/ 2009155 w 4056446"/>
                  <a:gd name="connsiteY66" fmla="*/ 4059318 h 4059872"/>
                  <a:gd name="connsiteX67" fmla="*/ 1952998 w 4056446"/>
                  <a:gd name="connsiteY67" fmla="*/ 4017833 h 4059872"/>
                  <a:gd name="connsiteX68" fmla="*/ 1877723 w 4056446"/>
                  <a:gd name="connsiteY68" fmla="*/ 3516888 h 4059872"/>
                  <a:gd name="connsiteX69" fmla="*/ 1879319 w 4056446"/>
                  <a:gd name="connsiteY69" fmla="*/ 3510465 h 4059872"/>
                  <a:gd name="connsiteX70" fmla="*/ 1689223 w 4056446"/>
                  <a:gd name="connsiteY70" fmla="*/ 3476542 h 4059872"/>
                  <a:gd name="connsiteX71" fmla="*/ 1503182 w 4056446"/>
                  <a:gd name="connsiteY71" fmla="*/ 3417844 h 4059872"/>
                  <a:gd name="connsiteX72" fmla="*/ 1376140 w 4056446"/>
                  <a:gd name="connsiteY72" fmla="*/ 3361034 h 4059872"/>
                  <a:gd name="connsiteX73" fmla="*/ 1077078 w 4056446"/>
                  <a:gd name="connsiteY73" fmla="*/ 3736832 h 4059872"/>
                  <a:gd name="connsiteX74" fmla="*/ 1007707 w 4056446"/>
                  <a:gd name="connsiteY74" fmla="*/ 3744720 h 4059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4056446" h="4059872">
                    <a:moveTo>
                      <a:pt x="1216809" y="3055242"/>
                    </a:moveTo>
                    <a:cubicBezTo>
                      <a:pt x="1795626" y="3515866"/>
                      <a:pt x="2638261" y="3420052"/>
                      <a:pt x="3098885" y="2841236"/>
                    </a:cubicBezTo>
                    <a:cubicBezTo>
                      <a:pt x="3559509" y="2262419"/>
                      <a:pt x="3463695" y="1419785"/>
                      <a:pt x="2884879" y="959160"/>
                    </a:cubicBezTo>
                    <a:cubicBezTo>
                      <a:pt x="2306062" y="498536"/>
                      <a:pt x="1463428" y="594350"/>
                      <a:pt x="1002803" y="1173166"/>
                    </a:cubicBezTo>
                    <a:cubicBezTo>
                      <a:pt x="542179" y="1751983"/>
                      <a:pt x="637993" y="2594617"/>
                      <a:pt x="1216809" y="3055242"/>
                    </a:cubicBezTo>
                    <a:close/>
                    <a:moveTo>
                      <a:pt x="1007707" y="3744720"/>
                    </a:moveTo>
                    <a:lnTo>
                      <a:pt x="571023" y="3397206"/>
                    </a:lnTo>
                    <a:cubicBezTo>
                      <a:pt x="549689" y="3380228"/>
                      <a:pt x="546157" y="3349169"/>
                      <a:pt x="563135" y="3327835"/>
                    </a:cubicBezTo>
                    <a:lnTo>
                      <a:pt x="866464" y="2946674"/>
                    </a:lnTo>
                    <a:lnTo>
                      <a:pt x="799169" y="2857589"/>
                    </a:lnTo>
                    <a:cubicBezTo>
                      <a:pt x="753845" y="2790921"/>
                      <a:pt x="714309" y="2721214"/>
                      <a:pt x="680648" y="2649231"/>
                    </a:cubicBezTo>
                    <a:lnTo>
                      <a:pt x="616826" y="2479081"/>
                    </a:lnTo>
                    <a:lnTo>
                      <a:pt x="115475" y="2533963"/>
                    </a:lnTo>
                    <a:cubicBezTo>
                      <a:pt x="88371" y="2536930"/>
                      <a:pt x="63994" y="2517363"/>
                      <a:pt x="61027" y="2490259"/>
                    </a:cubicBezTo>
                    <a:lnTo>
                      <a:pt x="297" y="1935488"/>
                    </a:lnTo>
                    <a:cubicBezTo>
                      <a:pt x="-2670" y="1908384"/>
                      <a:pt x="16897" y="1884007"/>
                      <a:pt x="44001" y="1881040"/>
                    </a:cubicBezTo>
                    <a:lnTo>
                      <a:pt x="547562" y="1825916"/>
                    </a:lnTo>
                    <a:lnTo>
                      <a:pt x="549211" y="1826397"/>
                    </a:lnTo>
                    <a:lnTo>
                      <a:pt x="564245" y="1725111"/>
                    </a:lnTo>
                    <a:cubicBezTo>
                      <a:pt x="586333" y="1608169"/>
                      <a:pt x="622419" y="1492985"/>
                      <a:pt x="672799" y="1382137"/>
                    </a:cubicBezTo>
                    <a:lnTo>
                      <a:pt x="704433" y="1322516"/>
                    </a:lnTo>
                    <a:lnTo>
                      <a:pt x="314187" y="1011958"/>
                    </a:lnTo>
                    <a:cubicBezTo>
                      <a:pt x="292853" y="994979"/>
                      <a:pt x="289321" y="963921"/>
                      <a:pt x="306299" y="942586"/>
                    </a:cubicBezTo>
                    <a:lnTo>
                      <a:pt x="653814" y="505903"/>
                    </a:lnTo>
                    <a:cubicBezTo>
                      <a:pt x="670792" y="484568"/>
                      <a:pt x="701850" y="481036"/>
                      <a:pt x="723185" y="498015"/>
                    </a:cubicBezTo>
                    <a:lnTo>
                      <a:pt x="1119559" y="813450"/>
                    </a:lnTo>
                    <a:lnTo>
                      <a:pt x="1120994" y="815157"/>
                    </a:lnTo>
                    <a:lnTo>
                      <a:pt x="1139802" y="799005"/>
                    </a:lnTo>
                    <a:cubicBezTo>
                      <a:pt x="1239379" y="723809"/>
                      <a:pt x="1346706" y="662249"/>
                      <a:pt x="1459003" y="614640"/>
                    </a:cubicBezTo>
                    <a:lnTo>
                      <a:pt x="1559225" y="577750"/>
                    </a:lnTo>
                    <a:lnTo>
                      <a:pt x="1550191" y="555938"/>
                    </a:lnTo>
                    <a:lnTo>
                      <a:pt x="1550191" y="49369"/>
                    </a:lnTo>
                    <a:cubicBezTo>
                      <a:pt x="1550191" y="22103"/>
                      <a:pt x="1572294" y="0"/>
                      <a:pt x="1599560" y="0"/>
                    </a:cubicBezTo>
                    <a:lnTo>
                      <a:pt x="2157645" y="0"/>
                    </a:lnTo>
                    <a:cubicBezTo>
                      <a:pt x="2184911" y="0"/>
                      <a:pt x="2207014" y="22103"/>
                      <a:pt x="2207014" y="49369"/>
                    </a:cubicBezTo>
                    <a:lnTo>
                      <a:pt x="2207014" y="503618"/>
                    </a:lnTo>
                    <a:lnTo>
                      <a:pt x="2314929" y="517315"/>
                    </a:lnTo>
                    <a:cubicBezTo>
                      <a:pt x="2435047" y="538497"/>
                      <a:pt x="2553456" y="574389"/>
                      <a:pt x="2667373" y="625309"/>
                    </a:cubicBezTo>
                    <a:lnTo>
                      <a:pt x="2700138" y="642497"/>
                    </a:lnTo>
                    <a:lnTo>
                      <a:pt x="3008044" y="255585"/>
                    </a:lnTo>
                    <a:cubicBezTo>
                      <a:pt x="3025022" y="234250"/>
                      <a:pt x="3056080" y="230719"/>
                      <a:pt x="3077415" y="247697"/>
                    </a:cubicBezTo>
                    <a:lnTo>
                      <a:pt x="3514099" y="595211"/>
                    </a:lnTo>
                    <a:cubicBezTo>
                      <a:pt x="3535434" y="612190"/>
                      <a:pt x="3538965" y="643248"/>
                      <a:pt x="3521987" y="664583"/>
                    </a:cubicBezTo>
                    <a:lnTo>
                      <a:pt x="3218637" y="1045770"/>
                    </a:lnTo>
                    <a:lnTo>
                      <a:pt x="3302519" y="1156813"/>
                    </a:lnTo>
                    <a:cubicBezTo>
                      <a:pt x="3347843" y="1223481"/>
                      <a:pt x="3387379" y="1293188"/>
                      <a:pt x="3421041" y="1365171"/>
                    </a:cubicBezTo>
                    <a:lnTo>
                      <a:pt x="3454648" y="1454771"/>
                    </a:lnTo>
                    <a:lnTo>
                      <a:pt x="3458789" y="1452702"/>
                    </a:lnTo>
                    <a:lnTo>
                      <a:pt x="3964088" y="1416853"/>
                    </a:lnTo>
                    <a:cubicBezTo>
                      <a:pt x="3991286" y="1414924"/>
                      <a:pt x="4014897" y="1435407"/>
                      <a:pt x="4016827" y="1462605"/>
                    </a:cubicBezTo>
                    <a:lnTo>
                      <a:pt x="4056321" y="2019290"/>
                    </a:lnTo>
                    <a:cubicBezTo>
                      <a:pt x="4058251" y="2046488"/>
                      <a:pt x="4037767" y="2070100"/>
                      <a:pt x="4010569" y="2072030"/>
                    </a:cubicBezTo>
                    <a:lnTo>
                      <a:pt x="3559565" y="2104026"/>
                    </a:lnTo>
                    <a:lnTo>
                      <a:pt x="3554874" y="2171858"/>
                    </a:lnTo>
                    <a:cubicBezTo>
                      <a:pt x="3539956" y="2309323"/>
                      <a:pt x="3506117" y="2445566"/>
                      <a:pt x="3452889" y="2576492"/>
                    </a:cubicBezTo>
                    <a:lnTo>
                      <a:pt x="3419706" y="2643915"/>
                    </a:lnTo>
                    <a:lnTo>
                      <a:pt x="3784308" y="2934067"/>
                    </a:lnTo>
                    <a:cubicBezTo>
                      <a:pt x="3805643" y="2951045"/>
                      <a:pt x="3809174" y="2982104"/>
                      <a:pt x="3792196" y="3003438"/>
                    </a:cubicBezTo>
                    <a:lnTo>
                      <a:pt x="3444682" y="3440122"/>
                    </a:lnTo>
                    <a:cubicBezTo>
                      <a:pt x="3427703" y="3461457"/>
                      <a:pt x="3396645" y="3464988"/>
                      <a:pt x="3375310" y="3448010"/>
                    </a:cubicBezTo>
                    <a:lnTo>
                      <a:pt x="3021442" y="3166400"/>
                    </a:lnTo>
                    <a:lnTo>
                      <a:pt x="2969339" y="3209732"/>
                    </a:lnTo>
                    <a:cubicBezTo>
                      <a:pt x="2864573" y="3289877"/>
                      <a:pt x="2751081" y="3354819"/>
                      <a:pt x="2632143" y="3404184"/>
                    </a:cubicBezTo>
                    <a:lnTo>
                      <a:pt x="2530226" y="3439066"/>
                    </a:lnTo>
                    <a:lnTo>
                      <a:pt x="2602529" y="3920232"/>
                    </a:lnTo>
                    <a:cubicBezTo>
                      <a:pt x="2606580" y="3947195"/>
                      <a:pt x="2588007" y="3972337"/>
                      <a:pt x="2561044" y="3976388"/>
                    </a:cubicBezTo>
                    <a:lnTo>
                      <a:pt x="2009155" y="4059318"/>
                    </a:lnTo>
                    <a:cubicBezTo>
                      <a:pt x="1982191" y="4063370"/>
                      <a:pt x="1957049" y="4044796"/>
                      <a:pt x="1952998" y="4017833"/>
                    </a:cubicBezTo>
                    <a:lnTo>
                      <a:pt x="1877723" y="3516888"/>
                    </a:lnTo>
                    <a:lnTo>
                      <a:pt x="1879319" y="3510465"/>
                    </a:lnTo>
                    <a:lnTo>
                      <a:pt x="1689223" y="3476542"/>
                    </a:lnTo>
                    <a:cubicBezTo>
                      <a:pt x="1626384" y="3461119"/>
                      <a:pt x="1564234" y="3441568"/>
                      <a:pt x="1503182" y="3417844"/>
                    </a:cubicBezTo>
                    <a:lnTo>
                      <a:pt x="1376140" y="3361034"/>
                    </a:lnTo>
                    <a:lnTo>
                      <a:pt x="1077078" y="3736832"/>
                    </a:lnTo>
                    <a:cubicBezTo>
                      <a:pt x="1060100" y="3758167"/>
                      <a:pt x="1029042" y="3761699"/>
                      <a:pt x="1007707" y="3744720"/>
                    </a:cubicBez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 dirty="0">
                  <a:solidFill>
                    <a:prstClr val="white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7" name="Notched Right Arrow 195">
            <a:extLst>
              <a:ext uri="{FF2B5EF4-FFF2-40B4-BE49-F238E27FC236}">
                <a16:creationId xmlns:a16="http://schemas.microsoft.com/office/drawing/2014/main" id="{CA48D09C-1247-45CD-A396-995455527762}"/>
              </a:ext>
            </a:extLst>
          </p:cNvPr>
          <p:cNvSpPr/>
          <p:nvPr/>
        </p:nvSpPr>
        <p:spPr>
          <a:xfrm rot="20253576">
            <a:off x="5166673" y="2164614"/>
            <a:ext cx="426888" cy="196652"/>
          </a:xfrm>
          <a:prstGeom prst="notchedRightArrow">
            <a:avLst/>
          </a:prstGeom>
          <a:gradFill flip="none" rotWithShape="1">
            <a:gsLst>
              <a:gs pos="100000">
                <a:sysClr val="window" lastClr="FFFFFF">
                  <a:lumMod val="95000"/>
                </a:sysClr>
              </a:gs>
              <a:gs pos="0">
                <a:sysClr val="window" lastClr="FFFFFF">
                  <a:lumMod val="75000"/>
                </a:sysClr>
              </a:gs>
            </a:gsLst>
            <a:lin ang="90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68589" tIns="34295" rIns="68589" bIns="34295" rtlCol="0" anchor="ctr"/>
          <a:lstStyle/>
          <a:p>
            <a:pPr algn="ctr" defTabSz="68589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kern="0" dirty="0">
              <a:solidFill>
                <a:prstClr val="white"/>
              </a:solidFill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48" name="Notched Right Arrow 196">
            <a:extLst>
              <a:ext uri="{FF2B5EF4-FFF2-40B4-BE49-F238E27FC236}">
                <a16:creationId xmlns:a16="http://schemas.microsoft.com/office/drawing/2014/main" id="{C971CC31-F1F8-4330-88C2-B6446C588A2B}"/>
              </a:ext>
            </a:extLst>
          </p:cNvPr>
          <p:cNvSpPr/>
          <p:nvPr/>
        </p:nvSpPr>
        <p:spPr>
          <a:xfrm rot="18376784">
            <a:off x="4689706" y="1722857"/>
            <a:ext cx="426777" cy="196703"/>
          </a:xfrm>
          <a:prstGeom prst="notchedRightArrow">
            <a:avLst/>
          </a:prstGeom>
          <a:gradFill flip="none" rotWithShape="1">
            <a:gsLst>
              <a:gs pos="100000">
                <a:sysClr val="window" lastClr="FFFFFF">
                  <a:lumMod val="95000"/>
                </a:sysClr>
              </a:gs>
              <a:gs pos="0">
                <a:sysClr val="window" lastClr="FFFFFF">
                  <a:lumMod val="75000"/>
                </a:sysClr>
              </a:gs>
            </a:gsLst>
            <a:lin ang="90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68589" tIns="34295" rIns="68589" bIns="34295" rtlCol="0" anchor="ctr"/>
          <a:lstStyle/>
          <a:p>
            <a:pPr algn="ctr" defTabSz="68589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kern="0" dirty="0">
              <a:solidFill>
                <a:prstClr val="white"/>
              </a:solidFill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49" name="Notched Right Arrow 199">
            <a:extLst>
              <a:ext uri="{FF2B5EF4-FFF2-40B4-BE49-F238E27FC236}">
                <a16:creationId xmlns:a16="http://schemas.microsoft.com/office/drawing/2014/main" id="{62F38DE1-2B15-4DD5-BC7B-2266C2C76F25}"/>
              </a:ext>
            </a:extLst>
          </p:cNvPr>
          <p:cNvSpPr/>
          <p:nvPr/>
        </p:nvSpPr>
        <p:spPr>
          <a:xfrm rot="1456143" flipH="1">
            <a:off x="3076713" y="2296381"/>
            <a:ext cx="426888" cy="196652"/>
          </a:xfrm>
          <a:prstGeom prst="notchedRightArrow">
            <a:avLst/>
          </a:prstGeom>
          <a:gradFill flip="none" rotWithShape="1">
            <a:gsLst>
              <a:gs pos="100000">
                <a:sysClr val="window" lastClr="FFFFFF">
                  <a:lumMod val="95000"/>
                </a:sysClr>
              </a:gs>
              <a:gs pos="0">
                <a:sysClr val="window" lastClr="FFFFFF">
                  <a:lumMod val="75000"/>
                </a:sysClr>
              </a:gs>
            </a:gsLst>
            <a:lin ang="90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68589" tIns="34295" rIns="68589" bIns="34295" rtlCol="0" anchor="ctr"/>
          <a:lstStyle/>
          <a:p>
            <a:pPr algn="ctr" defTabSz="68589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kern="0" dirty="0">
              <a:solidFill>
                <a:prstClr val="white"/>
              </a:solidFill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50" name="Notched Right Arrow 200">
            <a:extLst>
              <a:ext uri="{FF2B5EF4-FFF2-40B4-BE49-F238E27FC236}">
                <a16:creationId xmlns:a16="http://schemas.microsoft.com/office/drawing/2014/main" id="{6ED90BB2-2F3A-431F-B224-4DB391F1A8F7}"/>
              </a:ext>
            </a:extLst>
          </p:cNvPr>
          <p:cNvSpPr/>
          <p:nvPr/>
        </p:nvSpPr>
        <p:spPr>
          <a:xfrm rot="4030378" flipH="1">
            <a:off x="3630059" y="1780917"/>
            <a:ext cx="426777" cy="196703"/>
          </a:xfrm>
          <a:prstGeom prst="notchedRightArrow">
            <a:avLst/>
          </a:prstGeom>
          <a:gradFill flip="none" rotWithShape="1">
            <a:gsLst>
              <a:gs pos="100000">
                <a:sysClr val="window" lastClr="FFFFFF">
                  <a:lumMod val="95000"/>
                </a:sysClr>
              </a:gs>
              <a:gs pos="0">
                <a:sysClr val="window" lastClr="FFFFFF">
                  <a:lumMod val="75000"/>
                </a:sysClr>
              </a:gs>
            </a:gsLst>
            <a:lin ang="90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68589" tIns="34295" rIns="68589" bIns="34295" rtlCol="0" anchor="ctr"/>
          <a:lstStyle/>
          <a:p>
            <a:pPr algn="ctr" defTabSz="68589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kern="0" dirty="0">
              <a:solidFill>
                <a:prstClr val="white"/>
              </a:solidFill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EE2CAFB-F577-4BED-BD41-DDD1B6B5165F}"/>
              </a:ext>
            </a:extLst>
          </p:cNvPr>
          <p:cNvSpPr/>
          <p:nvPr/>
        </p:nvSpPr>
        <p:spPr>
          <a:xfrm>
            <a:off x="-25318" y="1959753"/>
            <a:ext cx="2424316" cy="807924"/>
          </a:xfrm>
          <a:prstGeom prst="rect">
            <a:avLst/>
          </a:prstGeom>
        </p:spPr>
        <p:txBody>
          <a:bodyPr wrap="square" lIns="68589" tIns="34295" rIns="68589" bIns="34295">
            <a:spAutoFit/>
          </a:bodyPr>
          <a:lstStyle/>
          <a:p>
            <a:pPr algn="ctr"/>
            <a:r>
              <a:rPr lang="en-US" sz="1200" dirty="0"/>
              <a:t>Any Requirement(s) not mentioned in the requirement document will be considered change reques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8479B79-D563-4F78-817D-C9B5F86F1ED0}"/>
              </a:ext>
            </a:extLst>
          </p:cNvPr>
          <p:cNvSpPr/>
          <p:nvPr/>
        </p:nvSpPr>
        <p:spPr>
          <a:xfrm>
            <a:off x="136455" y="445376"/>
            <a:ext cx="3261047" cy="992590"/>
          </a:xfrm>
          <a:prstGeom prst="rect">
            <a:avLst/>
          </a:prstGeom>
        </p:spPr>
        <p:txBody>
          <a:bodyPr wrap="square" lIns="68589" tIns="34295" rIns="68589" bIns="34295">
            <a:spAutoFit/>
          </a:bodyPr>
          <a:lstStyle/>
          <a:p>
            <a:pPr algn="ctr"/>
            <a:r>
              <a:rPr lang="en-US" sz="1200" dirty="0"/>
              <a:t>The YASH functional lead reviews the requirement or issue and determines that the resolution will lead to a change in scope, defined as a change that will impact cost, schedule, or staffing.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0832338-F2C3-48D1-9DEE-4F8C4DCF727E}"/>
              </a:ext>
            </a:extLst>
          </p:cNvPr>
          <p:cNvSpPr/>
          <p:nvPr/>
        </p:nvSpPr>
        <p:spPr>
          <a:xfrm>
            <a:off x="5614942" y="559345"/>
            <a:ext cx="2789064" cy="623248"/>
          </a:xfrm>
          <a:prstGeom prst="rect">
            <a:avLst/>
          </a:prstGeom>
        </p:spPr>
        <p:txBody>
          <a:bodyPr wrap="square" lIns="68589" tIns="34295" rIns="68589" bIns="34295">
            <a:spAutoFit/>
          </a:bodyPr>
          <a:lstStyle/>
          <a:p>
            <a:pPr algn="ctr"/>
            <a:r>
              <a:rPr lang="en-US" sz="1200" dirty="0"/>
              <a:t>The proposed change is documented in a scope change order, including the impact on schedule, cost, and staffing.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EB94E8D-685A-4586-AF22-7F6AD91C65C3}"/>
              </a:ext>
            </a:extLst>
          </p:cNvPr>
          <p:cNvSpPr/>
          <p:nvPr/>
        </p:nvSpPr>
        <p:spPr>
          <a:xfrm>
            <a:off x="6535210" y="1664911"/>
            <a:ext cx="2453979" cy="992579"/>
          </a:xfrm>
          <a:prstGeom prst="rect">
            <a:avLst/>
          </a:prstGeom>
        </p:spPr>
        <p:txBody>
          <a:bodyPr wrap="square" lIns="68589" tIns="34295" rIns="68589" bIns="34295">
            <a:spAutoFit/>
          </a:bodyPr>
          <a:lstStyle/>
          <a:p>
            <a:pPr algn="ctr"/>
            <a:r>
              <a:rPr lang="en-US" sz="1200" dirty="0"/>
              <a:t>The scope change order is reviewed by project's scope change board (comprising Coursera and YASH), and approved by signing the change order.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7E1540DE-AFB1-4FAB-92CE-A0D6561E4B43}"/>
              </a:ext>
            </a:extLst>
          </p:cNvPr>
          <p:cNvGrpSpPr/>
          <p:nvPr/>
        </p:nvGrpSpPr>
        <p:grpSpPr>
          <a:xfrm>
            <a:off x="3429954" y="2078404"/>
            <a:ext cx="1731951" cy="1003598"/>
            <a:chOff x="2345679" y="2381248"/>
            <a:chExt cx="4460166" cy="2585169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11101479-573E-45BC-9C89-E494057D29BE}"/>
                </a:ext>
              </a:extLst>
            </p:cNvPr>
            <p:cNvGrpSpPr/>
            <p:nvPr/>
          </p:nvGrpSpPr>
          <p:grpSpPr>
            <a:xfrm>
              <a:off x="2345679" y="4762509"/>
              <a:ext cx="4460166" cy="203908"/>
              <a:chOff x="2200740" y="4669201"/>
              <a:chExt cx="4749252" cy="217124"/>
            </a:xfrm>
          </p:grpSpPr>
          <p:sp>
            <p:nvSpPr>
              <p:cNvPr id="62" name="Round Same Side Corner Rectangle 105">
                <a:extLst>
                  <a:ext uri="{FF2B5EF4-FFF2-40B4-BE49-F238E27FC236}">
                    <a16:creationId xmlns:a16="http://schemas.microsoft.com/office/drawing/2014/main" id="{509B684D-9040-435D-990E-E5D33B5A4864}"/>
                  </a:ext>
                </a:extLst>
              </p:cNvPr>
              <p:cNvSpPr/>
              <p:nvPr/>
            </p:nvSpPr>
            <p:spPr>
              <a:xfrm>
                <a:off x="2200740" y="4669201"/>
                <a:ext cx="4749252" cy="217124"/>
              </a:xfrm>
              <a:prstGeom prst="round2SameRect">
                <a:avLst>
                  <a:gd name="adj1" fmla="val 0"/>
                  <a:gd name="adj2" fmla="val 5000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kern="0" dirty="0">
                  <a:solidFill>
                    <a:prstClr val="white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3" name="Freeform 106">
                <a:extLst>
                  <a:ext uri="{FF2B5EF4-FFF2-40B4-BE49-F238E27FC236}">
                    <a16:creationId xmlns:a16="http://schemas.microsoft.com/office/drawing/2014/main" id="{543F1019-1EF9-4AB0-AE69-B6BBA18396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6344" y="4734392"/>
                <a:ext cx="758045" cy="86743"/>
              </a:xfrm>
              <a:custGeom>
                <a:avLst/>
                <a:gdLst>
                  <a:gd name="connsiteX0" fmla="*/ 0 w 609600"/>
                  <a:gd name="connsiteY0" fmla="*/ 0 h 61913"/>
                  <a:gd name="connsiteX1" fmla="*/ 3175 w 609600"/>
                  <a:gd name="connsiteY1" fmla="*/ 0 h 61913"/>
                  <a:gd name="connsiteX2" fmla="*/ 6350 w 609600"/>
                  <a:gd name="connsiteY2" fmla="*/ 0 h 61913"/>
                  <a:gd name="connsiteX3" fmla="*/ 601663 w 609600"/>
                  <a:gd name="connsiteY3" fmla="*/ 0 h 61913"/>
                  <a:gd name="connsiteX4" fmla="*/ 608013 w 609600"/>
                  <a:gd name="connsiteY4" fmla="*/ 0 h 61913"/>
                  <a:gd name="connsiteX5" fmla="*/ 609600 w 609600"/>
                  <a:gd name="connsiteY5" fmla="*/ 0 h 61913"/>
                  <a:gd name="connsiteX6" fmla="*/ 609600 w 609600"/>
                  <a:gd name="connsiteY6" fmla="*/ 14288 h 61913"/>
                  <a:gd name="connsiteX7" fmla="*/ 604838 w 609600"/>
                  <a:gd name="connsiteY7" fmla="*/ 39688 h 61913"/>
                  <a:gd name="connsiteX8" fmla="*/ 585788 w 609600"/>
                  <a:gd name="connsiteY8" fmla="*/ 55563 h 61913"/>
                  <a:gd name="connsiteX9" fmla="*/ 563563 w 609600"/>
                  <a:gd name="connsiteY9" fmla="*/ 61913 h 61913"/>
                  <a:gd name="connsiteX10" fmla="*/ 47625 w 609600"/>
                  <a:gd name="connsiteY10" fmla="*/ 61913 h 61913"/>
                  <a:gd name="connsiteX11" fmla="*/ 22225 w 609600"/>
                  <a:gd name="connsiteY11" fmla="*/ 55563 h 61913"/>
                  <a:gd name="connsiteX12" fmla="*/ 6350 w 609600"/>
                  <a:gd name="connsiteY12" fmla="*/ 39688 h 61913"/>
                  <a:gd name="connsiteX13" fmla="*/ 0 w 609600"/>
                  <a:gd name="connsiteY13" fmla="*/ 14288 h 61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9600" h="61913">
                    <a:moveTo>
                      <a:pt x="0" y="0"/>
                    </a:moveTo>
                    <a:lnTo>
                      <a:pt x="3175" y="0"/>
                    </a:lnTo>
                    <a:lnTo>
                      <a:pt x="6350" y="0"/>
                    </a:lnTo>
                    <a:lnTo>
                      <a:pt x="601663" y="0"/>
                    </a:lnTo>
                    <a:lnTo>
                      <a:pt x="608013" y="0"/>
                    </a:lnTo>
                    <a:lnTo>
                      <a:pt x="609600" y="0"/>
                    </a:lnTo>
                    <a:lnTo>
                      <a:pt x="609600" y="14288"/>
                    </a:lnTo>
                    <a:lnTo>
                      <a:pt x="604838" y="39688"/>
                    </a:lnTo>
                    <a:lnTo>
                      <a:pt x="585788" y="55563"/>
                    </a:lnTo>
                    <a:lnTo>
                      <a:pt x="563563" y="61913"/>
                    </a:lnTo>
                    <a:lnTo>
                      <a:pt x="47625" y="61913"/>
                    </a:lnTo>
                    <a:lnTo>
                      <a:pt x="22225" y="55563"/>
                    </a:lnTo>
                    <a:lnTo>
                      <a:pt x="6350" y="39688"/>
                    </a:lnTo>
                    <a:lnTo>
                      <a:pt x="0" y="14288"/>
                    </a:lnTo>
                    <a:close/>
                  </a:path>
                </a:pathLst>
              </a:custGeom>
              <a:solidFill>
                <a:srgbClr val="E4E4E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kern="0" dirty="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8FD1C4E8-A8D0-414B-B4C6-C2A755645758}"/>
                </a:ext>
              </a:extLst>
            </p:cNvPr>
            <p:cNvGrpSpPr/>
            <p:nvPr/>
          </p:nvGrpSpPr>
          <p:grpSpPr>
            <a:xfrm>
              <a:off x="2902288" y="2381248"/>
              <a:ext cx="3346948" cy="2362167"/>
              <a:chOff x="2793426" y="2133599"/>
              <a:chExt cx="3563881" cy="2515270"/>
            </a:xfrm>
          </p:grpSpPr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039EFC6D-2646-43AD-8AE0-26B5E918DDB6}"/>
                  </a:ext>
                </a:extLst>
              </p:cNvPr>
              <p:cNvGrpSpPr/>
              <p:nvPr/>
            </p:nvGrpSpPr>
            <p:grpSpPr>
              <a:xfrm>
                <a:off x="2793426" y="2133599"/>
                <a:ext cx="3563881" cy="2515270"/>
                <a:chOff x="2793426" y="2133599"/>
                <a:chExt cx="3563881" cy="2515270"/>
              </a:xfrm>
            </p:grpSpPr>
            <p:sp>
              <p:nvSpPr>
                <p:cNvPr id="60" name="Freeform 2142">
                  <a:extLst>
                    <a:ext uri="{FF2B5EF4-FFF2-40B4-BE49-F238E27FC236}">
                      <a16:creationId xmlns:a16="http://schemas.microsoft.com/office/drawing/2014/main" id="{8E32C221-63EE-4212-A635-9AA587337D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93426" y="2133599"/>
                  <a:ext cx="3563881" cy="2515270"/>
                </a:xfrm>
                <a:prstGeom prst="roundRect">
                  <a:avLst>
                    <a:gd name="adj" fmla="val 5140"/>
                  </a:avLst>
                </a:prstGeom>
                <a:solidFill>
                  <a:srgbClr val="40404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91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200" kern="0" dirty="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1" name="Rectangle 2145">
                  <a:extLst>
                    <a:ext uri="{FF2B5EF4-FFF2-40B4-BE49-F238E27FC236}">
                      <a16:creationId xmlns:a16="http://schemas.microsoft.com/office/drawing/2014/main" id="{53F0144A-3AD7-4B2B-A79A-4A971E45A00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981821" y="2305392"/>
                  <a:ext cx="3190299" cy="2038753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91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200" kern="0" dirty="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95963670-8556-44E6-8070-B31CA033AC8C}"/>
                  </a:ext>
                </a:extLst>
              </p:cNvPr>
              <p:cNvSpPr/>
              <p:nvPr/>
            </p:nvSpPr>
            <p:spPr>
              <a:xfrm>
                <a:off x="4512057" y="2159893"/>
                <a:ext cx="126618" cy="126618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kern="0" dirty="0">
                  <a:solidFill>
                    <a:prstClr val="white"/>
                  </a:solidFill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64" name="Hexagon 63">
            <a:extLst>
              <a:ext uri="{FF2B5EF4-FFF2-40B4-BE49-F238E27FC236}">
                <a16:creationId xmlns:a16="http://schemas.microsoft.com/office/drawing/2014/main" id="{F61768F2-E3B7-464E-9326-D875FFE56F7F}"/>
              </a:ext>
            </a:extLst>
          </p:cNvPr>
          <p:cNvSpPr/>
          <p:nvPr/>
        </p:nvSpPr>
        <p:spPr>
          <a:xfrm rot="16200000">
            <a:off x="3211349" y="1065712"/>
            <a:ext cx="652919" cy="569400"/>
          </a:xfrm>
          <a:prstGeom prst="hexagon">
            <a:avLst/>
          </a:prstGeom>
          <a:solidFill>
            <a:srgbClr val="F1584B"/>
          </a:solidFill>
          <a:ln w="28575" cap="flat" cmpd="sng" algn="ctr">
            <a:solidFill>
              <a:srgbClr val="FFFFFF"/>
            </a:solidFill>
            <a:prstDash val="solid"/>
            <a:miter lim="800000"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lIns="68589" tIns="34295" rIns="68589" bIns="34295" rtlCol="0" anchor="ctr"/>
          <a:lstStyle/>
          <a:p>
            <a:pPr algn="ctr" defTabSz="68589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kern="0" dirty="0">
              <a:solidFill>
                <a:prstClr val="white"/>
              </a:solidFill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AF977066-879B-456C-A5ED-98917A00CE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72960" y="1908696"/>
            <a:ext cx="317299" cy="317216"/>
          </a:xfrm>
          <a:prstGeom prst="rect">
            <a:avLst/>
          </a:prstGeom>
        </p:spPr>
      </p:pic>
      <p:sp>
        <p:nvSpPr>
          <p:cNvPr id="66" name="Rectangle 65">
            <a:extLst>
              <a:ext uri="{FF2B5EF4-FFF2-40B4-BE49-F238E27FC236}">
                <a16:creationId xmlns:a16="http://schemas.microsoft.com/office/drawing/2014/main" id="{0572178D-1BDF-4BDD-B8D7-4F272C208867}"/>
              </a:ext>
            </a:extLst>
          </p:cNvPr>
          <p:cNvSpPr/>
          <p:nvPr/>
        </p:nvSpPr>
        <p:spPr>
          <a:xfrm>
            <a:off x="3607765" y="2249723"/>
            <a:ext cx="1415086" cy="500147"/>
          </a:xfrm>
          <a:prstGeom prst="rect">
            <a:avLst/>
          </a:prstGeom>
        </p:spPr>
        <p:txBody>
          <a:bodyPr wrap="none" lIns="68589" tIns="34295" rIns="68589" bIns="34295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altLang="en-US" sz="1400" b="1" dirty="0"/>
              <a:t>Project Change </a:t>
            </a:r>
          </a:p>
          <a:p>
            <a:pPr algn="ctr">
              <a:spcBef>
                <a:spcPct val="0"/>
              </a:spcBef>
            </a:pPr>
            <a:r>
              <a:rPr lang="en-US" altLang="en-US" sz="1400" b="1" dirty="0"/>
              <a:t>Management</a:t>
            </a:r>
          </a:p>
        </p:txBody>
      </p:sp>
      <p:pic>
        <p:nvPicPr>
          <p:cNvPr id="67" name="Picture 6" descr="G:\NIRAJ\PPT\icon\network.png">
            <a:extLst>
              <a:ext uri="{FF2B5EF4-FFF2-40B4-BE49-F238E27FC236}">
                <a16:creationId xmlns:a16="http://schemas.microsoft.com/office/drawing/2014/main" id="{6F8F769B-E56F-4CC2-B6BA-FB11A4433B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5249" y="1129224"/>
            <a:ext cx="339827" cy="339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7" descr="G:\NIRAJ\PPT\icon\programming.png">
            <a:extLst>
              <a:ext uri="{FF2B5EF4-FFF2-40B4-BE49-F238E27FC236}">
                <a16:creationId xmlns:a16="http://schemas.microsoft.com/office/drawing/2014/main" id="{238283CF-D414-4C64-B5B1-8E9AC4067F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0815" y="1090926"/>
            <a:ext cx="275650" cy="275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00266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ryker - Yash Template">
  <a:themeElements>
    <a:clrScheme name="Stryker Jul 2015">
      <a:dk1>
        <a:sysClr val="windowText" lastClr="000000"/>
      </a:dk1>
      <a:lt1>
        <a:sysClr val="window" lastClr="FFFFFF"/>
      </a:lt1>
      <a:dk2>
        <a:srgbClr val="000000"/>
      </a:dk2>
      <a:lt2>
        <a:srgbClr val="FFB500"/>
      </a:lt2>
      <a:accent1>
        <a:srgbClr val="AF6D04"/>
      </a:accent1>
      <a:accent2>
        <a:srgbClr val="85458A"/>
      </a:accent2>
      <a:accent3>
        <a:srgbClr val="1C5687"/>
      </a:accent3>
      <a:accent4>
        <a:srgbClr val="4C7D7A"/>
      </a:accent4>
      <a:accent5>
        <a:srgbClr val="545857"/>
      </a:accent5>
      <a:accent6>
        <a:srgbClr val="B2B4AE"/>
      </a:accent6>
      <a:hlink>
        <a:srgbClr val="545857"/>
      </a:hlink>
      <a:folHlink>
        <a:srgbClr val="AF6D04"/>
      </a:folHlink>
    </a:clrScheme>
    <a:fontScheme name="STRYKER">
      <a:majorFont>
        <a:latin typeface="Arial Black"/>
        <a:ea typeface=""/>
        <a:cs typeface=""/>
      </a:majorFont>
      <a:minorFont>
        <a:latin typeface="Cambr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Divider">
  <a:themeElements>
    <a:clrScheme name="STRYKER">
      <a:dk1>
        <a:sysClr val="windowText" lastClr="000000"/>
      </a:dk1>
      <a:lt1>
        <a:sysClr val="window" lastClr="FFFFFF"/>
      </a:lt1>
      <a:dk2>
        <a:srgbClr val="B2B4AE"/>
      </a:dk2>
      <a:lt2>
        <a:srgbClr val="FFB500"/>
      </a:lt2>
      <a:accent1>
        <a:srgbClr val="AF6D04"/>
      </a:accent1>
      <a:accent2>
        <a:srgbClr val="85458A"/>
      </a:accent2>
      <a:accent3>
        <a:srgbClr val="1C5687"/>
      </a:accent3>
      <a:accent4>
        <a:srgbClr val="4C7D7A"/>
      </a:accent4>
      <a:accent5>
        <a:srgbClr val="545857"/>
      </a:accent5>
      <a:accent6>
        <a:srgbClr val="B2B4AE"/>
      </a:accent6>
      <a:hlink>
        <a:srgbClr val="545857"/>
      </a:hlink>
      <a:folHlink>
        <a:srgbClr val="AF6D04"/>
      </a:folHlink>
    </a:clrScheme>
    <a:fontScheme name="STRYKER">
      <a:majorFont>
        <a:latin typeface="Arial Black"/>
        <a:ea typeface=""/>
        <a:cs typeface=""/>
      </a:majorFont>
      <a:minorFont>
        <a:latin typeface="Cambr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Stryker Corporate Template_091815">
  <a:themeElements>
    <a:clrScheme name="Stryker Jul 2015">
      <a:dk1>
        <a:sysClr val="windowText" lastClr="000000"/>
      </a:dk1>
      <a:lt1>
        <a:sysClr val="window" lastClr="FFFFFF"/>
      </a:lt1>
      <a:dk2>
        <a:srgbClr val="000000"/>
      </a:dk2>
      <a:lt2>
        <a:srgbClr val="FFB500"/>
      </a:lt2>
      <a:accent1>
        <a:srgbClr val="AF6D04"/>
      </a:accent1>
      <a:accent2>
        <a:srgbClr val="85458A"/>
      </a:accent2>
      <a:accent3>
        <a:srgbClr val="1C5687"/>
      </a:accent3>
      <a:accent4>
        <a:srgbClr val="4C7D7A"/>
      </a:accent4>
      <a:accent5>
        <a:srgbClr val="545857"/>
      </a:accent5>
      <a:accent6>
        <a:srgbClr val="B2B4AE"/>
      </a:accent6>
      <a:hlink>
        <a:srgbClr val="545857"/>
      </a:hlink>
      <a:folHlink>
        <a:srgbClr val="AF6D04"/>
      </a:folHlink>
    </a:clrScheme>
    <a:fontScheme name="STRYKER">
      <a:majorFont>
        <a:latin typeface="Arial Black"/>
        <a:ea typeface=""/>
        <a:cs typeface=""/>
      </a:majorFont>
      <a:minorFont>
        <a:latin typeface="Cambr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</a:theme>
</file>

<file path=ppt/theme/theme5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Stryker Corporate Template_091815">
  <a:themeElements>
    <a:clrScheme name="Stryker Jul 2015">
      <a:dk1>
        <a:sysClr val="windowText" lastClr="000000"/>
      </a:dk1>
      <a:lt1>
        <a:sysClr val="window" lastClr="FFFFFF"/>
      </a:lt1>
      <a:dk2>
        <a:srgbClr val="000000"/>
      </a:dk2>
      <a:lt2>
        <a:srgbClr val="FFB500"/>
      </a:lt2>
      <a:accent1>
        <a:srgbClr val="AF6D04"/>
      </a:accent1>
      <a:accent2>
        <a:srgbClr val="85458A"/>
      </a:accent2>
      <a:accent3>
        <a:srgbClr val="1C5687"/>
      </a:accent3>
      <a:accent4>
        <a:srgbClr val="4C7D7A"/>
      </a:accent4>
      <a:accent5>
        <a:srgbClr val="545857"/>
      </a:accent5>
      <a:accent6>
        <a:srgbClr val="B2B4AE"/>
      </a:accent6>
      <a:hlink>
        <a:srgbClr val="545857"/>
      </a:hlink>
      <a:folHlink>
        <a:srgbClr val="AF6D04"/>
      </a:folHlink>
    </a:clrScheme>
    <a:fontScheme name="STRYKER">
      <a:majorFont>
        <a:latin typeface="Arial Black"/>
        <a:ea typeface=""/>
        <a:cs typeface=""/>
      </a:majorFont>
      <a:minorFont>
        <a:latin typeface="Cambr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</a:theme>
</file>

<file path=ppt/theme/theme7.xml><?xml version="1.0" encoding="utf-8"?>
<a:theme xmlns:a="http://schemas.openxmlformats.org/drawingml/2006/main" name="1_Stryker Corporate Template_091815">
  <a:themeElements>
    <a:clrScheme name="Stryker Jul 2015">
      <a:dk1>
        <a:sysClr val="windowText" lastClr="000000"/>
      </a:dk1>
      <a:lt1>
        <a:sysClr val="window" lastClr="FFFFFF"/>
      </a:lt1>
      <a:dk2>
        <a:srgbClr val="000000"/>
      </a:dk2>
      <a:lt2>
        <a:srgbClr val="FFB500"/>
      </a:lt2>
      <a:accent1>
        <a:srgbClr val="AF6D04"/>
      </a:accent1>
      <a:accent2>
        <a:srgbClr val="85458A"/>
      </a:accent2>
      <a:accent3>
        <a:srgbClr val="1C5687"/>
      </a:accent3>
      <a:accent4>
        <a:srgbClr val="4C7D7A"/>
      </a:accent4>
      <a:accent5>
        <a:srgbClr val="545857"/>
      </a:accent5>
      <a:accent6>
        <a:srgbClr val="B2B4AE"/>
      </a:accent6>
      <a:hlink>
        <a:srgbClr val="545857"/>
      </a:hlink>
      <a:folHlink>
        <a:srgbClr val="AF6D04"/>
      </a:folHlink>
    </a:clrScheme>
    <a:fontScheme name="STRYKER">
      <a:majorFont>
        <a:latin typeface="Arial Black"/>
        <a:ea typeface=""/>
        <a:cs typeface=""/>
      </a:majorFont>
      <a:minorFont>
        <a:latin typeface="Cambr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</a:theme>
</file>

<file path=ppt/theme/theme8.xml><?xml version="1.0" encoding="utf-8"?>
<a:theme xmlns:a="http://schemas.openxmlformats.org/drawingml/2006/main" name="2_Stryker Corporate Template_091815">
  <a:themeElements>
    <a:clrScheme name="Stryker Jul 2015">
      <a:dk1>
        <a:sysClr val="windowText" lastClr="000000"/>
      </a:dk1>
      <a:lt1>
        <a:sysClr val="window" lastClr="FFFFFF"/>
      </a:lt1>
      <a:dk2>
        <a:srgbClr val="000000"/>
      </a:dk2>
      <a:lt2>
        <a:srgbClr val="FFB500"/>
      </a:lt2>
      <a:accent1>
        <a:srgbClr val="AF6D04"/>
      </a:accent1>
      <a:accent2>
        <a:srgbClr val="85458A"/>
      </a:accent2>
      <a:accent3>
        <a:srgbClr val="1C5687"/>
      </a:accent3>
      <a:accent4>
        <a:srgbClr val="4C7D7A"/>
      </a:accent4>
      <a:accent5>
        <a:srgbClr val="545857"/>
      </a:accent5>
      <a:accent6>
        <a:srgbClr val="B2B4AE"/>
      </a:accent6>
      <a:hlink>
        <a:srgbClr val="545857"/>
      </a:hlink>
      <a:folHlink>
        <a:srgbClr val="AF6D04"/>
      </a:folHlink>
    </a:clrScheme>
    <a:fontScheme name="STRYKER">
      <a:majorFont>
        <a:latin typeface="Arial Black"/>
        <a:ea typeface=""/>
        <a:cs typeface=""/>
      </a:majorFont>
      <a:minorFont>
        <a:latin typeface="Cambr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</a:theme>
</file>

<file path=ppt/theme/theme9.xml><?xml version="1.0" encoding="utf-8"?>
<a:theme xmlns:a="http://schemas.openxmlformats.org/drawingml/2006/main" name="3_Stryker Corporate Template_091815">
  <a:themeElements>
    <a:clrScheme name="Stryker Jul 2015">
      <a:dk1>
        <a:sysClr val="windowText" lastClr="000000"/>
      </a:dk1>
      <a:lt1>
        <a:sysClr val="window" lastClr="FFFFFF"/>
      </a:lt1>
      <a:dk2>
        <a:srgbClr val="000000"/>
      </a:dk2>
      <a:lt2>
        <a:srgbClr val="FFB500"/>
      </a:lt2>
      <a:accent1>
        <a:srgbClr val="AF6D04"/>
      </a:accent1>
      <a:accent2>
        <a:srgbClr val="85458A"/>
      </a:accent2>
      <a:accent3>
        <a:srgbClr val="1C5687"/>
      </a:accent3>
      <a:accent4>
        <a:srgbClr val="4C7D7A"/>
      </a:accent4>
      <a:accent5>
        <a:srgbClr val="545857"/>
      </a:accent5>
      <a:accent6>
        <a:srgbClr val="B2B4AE"/>
      </a:accent6>
      <a:hlink>
        <a:srgbClr val="545857"/>
      </a:hlink>
      <a:folHlink>
        <a:srgbClr val="AF6D04"/>
      </a:folHlink>
    </a:clrScheme>
    <a:fontScheme name="STRYKER">
      <a:majorFont>
        <a:latin typeface="Arial Black"/>
        <a:ea typeface=""/>
        <a:cs typeface=""/>
      </a:majorFont>
      <a:minorFont>
        <a:latin typeface="Cambr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c1f5c9d-221a-4cec-97a2-dcfe493332ca">
      <UserInfo>
        <DisplayName>Tanaka, Lea</DisplayName>
        <AccountId>32</AccountId>
        <AccountType/>
      </UserInfo>
      <UserInfo>
        <DisplayName>Vij, Rohit Kumar</DisplayName>
        <AccountId>35</AccountId>
        <AccountType/>
      </UserInfo>
      <UserInfo>
        <DisplayName>SharingLinks.ffdaa17f-3386-4fa9-b864-81e6fa5a922d.OrganizationView.c140a725-08ea-48b8-8b86-0b689e644871</DisplayName>
        <AccountId>36</AccountId>
        <AccountType/>
      </UserInfo>
      <UserInfo>
        <DisplayName>Perez, Camilo</DisplayName>
        <AccountId>37</AccountId>
        <AccountType/>
      </UserInfo>
      <UserInfo>
        <DisplayName>SharingLinks.3e20b566-cd21-42b3-8c44-dd33995f3d74.OrganizationEdit.7cd9a7aa-566a-4d15-b2d5-e4d2cada7fbf</DisplayName>
        <AccountId>49</AccountId>
        <AccountType/>
      </UserInfo>
      <UserInfo>
        <DisplayName>SharingLinks.02cc50eb-48cb-4866-a5e7-2ea2d6412d31.OrganizationEdit.dad7b372-69c3-47b4-85be-cc4390d192e8</DisplayName>
        <AccountId>52</AccountId>
        <AccountType/>
      </UserInfo>
      <UserInfo>
        <DisplayName>Headen, Alvis</DisplayName>
        <AccountId>13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6933E18D24638449DF7119F1522B241" ma:contentTypeVersion="7" ma:contentTypeDescription="Create a new document." ma:contentTypeScope="" ma:versionID="529432c61fe42d3ae2d88d5da89baa11">
  <xsd:schema xmlns:xsd="http://www.w3.org/2001/XMLSchema" xmlns:xs="http://www.w3.org/2001/XMLSchema" xmlns:p="http://schemas.microsoft.com/office/2006/metadata/properties" xmlns:ns2="3c1f5c9d-221a-4cec-97a2-dcfe493332ca" xmlns:ns3="28834063-fb64-4ba8-a581-70460dd4c62d" targetNamespace="http://schemas.microsoft.com/office/2006/metadata/properties" ma:root="true" ma:fieldsID="c4131cb40c2567e25e0fbab28defeff0" ns2:_="" ns3:_="">
    <xsd:import namespace="3c1f5c9d-221a-4cec-97a2-dcfe493332ca"/>
    <xsd:import namespace="28834063-fb64-4ba8-a581-70460dd4c62d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1f5c9d-221a-4cec-97a2-dcfe493332c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834063-fb64-4ba8-a581-70460dd4c62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MediaServiceAutoTags" ma:internalName="MediaServiceAutoTags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D5DB057-4FA7-4983-8087-35F12449D69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1E12552-4907-49EA-B9EB-EA062BAF251C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28834063-fb64-4ba8-a581-70460dd4c62d"/>
    <ds:schemaRef ds:uri="http://purl.org/dc/elements/1.1/"/>
    <ds:schemaRef ds:uri="http://schemas.microsoft.com/office/2006/documentManagement/types"/>
    <ds:schemaRef ds:uri="3c1f5c9d-221a-4cec-97a2-dcfe493332ca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D3119E4-937B-47CC-9483-5EE2DE96B5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c1f5c9d-221a-4cec-97a2-dcfe493332ca"/>
    <ds:schemaRef ds:uri="28834063-fb64-4ba8-a581-70460dd4c62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478</TotalTime>
  <Words>940</Words>
  <Application>Microsoft Office PowerPoint</Application>
  <PresentationFormat>On-screen Show (16:9)</PresentationFormat>
  <Paragraphs>178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0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42" baseType="lpstr">
      <vt:lpstr>ＭＳ Ｐゴシック</vt:lpstr>
      <vt:lpstr>ＭＳ Ｐゴシック</vt:lpstr>
      <vt:lpstr>.AppleSystemUIFont</vt:lpstr>
      <vt:lpstr>Arial</vt:lpstr>
      <vt:lpstr>Arial Black</vt:lpstr>
      <vt:lpstr>Calibiri</vt:lpstr>
      <vt:lpstr>Calibri</vt:lpstr>
      <vt:lpstr>Calibri Light</vt:lpstr>
      <vt:lpstr>Cambria</vt:lpstr>
      <vt:lpstr>Cambria Regular</vt:lpstr>
      <vt:lpstr>Courier New</vt:lpstr>
      <vt:lpstr>Egyptienne F LT Std</vt:lpstr>
      <vt:lpstr>Futura For Stryker</vt:lpstr>
      <vt:lpstr>Futura Std Bold</vt:lpstr>
      <vt:lpstr>HumstSlab712 BT Roman</vt:lpstr>
      <vt:lpstr>Lucida Grande</vt:lpstr>
      <vt:lpstr>Rockwell</vt:lpstr>
      <vt:lpstr>Tahoma</vt:lpstr>
      <vt:lpstr>Times</vt:lpstr>
      <vt:lpstr>Times New Roman</vt:lpstr>
      <vt:lpstr>Stryker - Yash Template</vt:lpstr>
      <vt:lpstr>1_Custom Design</vt:lpstr>
      <vt:lpstr>Custom Design</vt:lpstr>
      <vt:lpstr>Stryker Corporate Template_091815</vt:lpstr>
      <vt:lpstr>2_Custom Design</vt:lpstr>
      <vt:lpstr>4_Stryker Corporate Template_091815</vt:lpstr>
      <vt:lpstr>1_Stryker Corporate Template_091815</vt:lpstr>
      <vt:lpstr>2_Stryker Corporate Template_091815</vt:lpstr>
      <vt:lpstr>3_Stryker Corporate Template_091815</vt:lpstr>
      <vt:lpstr>Divider</vt:lpstr>
      <vt:lpstr>think-cell Slide</vt:lpstr>
      <vt:lpstr>Coursera Integration Project Kickoff</vt:lpstr>
      <vt:lpstr>Agenda </vt:lpstr>
      <vt:lpstr>YASH Team – Roles &amp; Responsibilities </vt:lpstr>
      <vt:lpstr>Coursera Team – Key Contacts</vt:lpstr>
      <vt:lpstr>Project Objectives </vt:lpstr>
      <vt:lpstr>Project Schedule</vt:lpstr>
      <vt:lpstr>Risks and Assumptions </vt:lpstr>
      <vt:lpstr>Out Of Scope </vt:lpstr>
      <vt:lpstr>Project Control and Monitoring </vt:lpstr>
      <vt:lpstr>Status Reports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e-EHS Management</dc:title>
  <dc:creator>saikrishna.s@yash.com</dc:creator>
  <cp:lastModifiedBy>Nishikant Purohit</cp:lastModifiedBy>
  <cp:revision>234</cp:revision>
  <dcterms:modified xsi:type="dcterms:W3CDTF">2019-04-10T18:34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933E18D24638449DF7119F1522B241</vt:lpwstr>
  </property>
  <property fmtid="{D5CDD505-2E9C-101B-9397-08002B2CF9AE}" pid="3" name="DivisionDept">
    <vt:lpwstr>4;#Global|b1f03d23-7257-4713-b4c4-d76aaccbe430</vt:lpwstr>
  </property>
</Properties>
</file>